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2" r:id="rId4"/>
    <p:sldMasterId id="2147483703" r:id="rId5"/>
  </p:sldMasterIdLst>
  <p:notesMasterIdLst>
    <p:notesMasterId r:id="rId13"/>
  </p:notesMasterIdLst>
  <p:sldIdLst>
    <p:sldId id="267" r:id="rId6"/>
    <p:sldId id="272" r:id="rId7"/>
    <p:sldId id="279" r:id="rId8"/>
    <p:sldId id="270" r:id="rId9"/>
    <p:sldId id="268" r:id="rId10"/>
    <p:sldId id="277" r:id="rId11"/>
    <p:sldId id="278" r:id="rId12"/>
  </p:sldIdLst>
  <p:sldSz cx="12192000" cy="6858000"/>
  <p:notesSz cx="6858000" cy="9144000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5296BFB5-B970-4193-A278-63AE9AB06ABD}">
          <p14:sldIdLst>
            <p14:sldId id="267"/>
            <p14:sldId id="272"/>
            <p14:sldId id="279"/>
            <p14:sldId id="270"/>
            <p14:sldId id="268"/>
            <p14:sldId id="277"/>
            <p14:sldId id="278"/>
          </p14:sldIdLst>
        </p14:section>
        <p14:section name="Folien zum Kopieren" id="{1FDC5813-D461-414C-9256-AD3142F18638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71D015D-22C1-EB31-0DDF-FB4D2E7A6EBD}" name="Marielle Berktold" initials="MB" userId="S::marielle.berktold@ifohra.de::06eb6efe-c237-487d-9e7f-9fba4d0955d6" providerId="AD"/>
  <p188:author id="{42AAC3E0-EE86-CEBE-FCAE-F39242F98125}" name="Anika Zimmermann" initials="AZ" userId="S::anika.zimmermann@ifohra.de::7fdd1538-c1e4-4452-90e6-0d5f35999fb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395A85"/>
    <a:srgbClr val="6E42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EF5D329-BA17-4AE4-B14D-422CF3D65CD5}" v="24" dt="2025-02-10T07:52:13.33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493" autoAdjust="0"/>
    <p:restoredTop sz="94660"/>
  </p:normalViewPr>
  <p:slideViewPr>
    <p:cSldViewPr snapToGrid="0">
      <p:cViewPr varScale="1">
        <p:scale>
          <a:sx n="87" d="100"/>
          <a:sy n="87" d="100"/>
        </p:scale>
        <p:origin x="1116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3CFC17-5920-42F9-9939-0ACF1EC1CFF7}" type="datetimeFigureOut">
              <a:rPr lang="de-DE" smtClean="0"/>
              <a:t>17.02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CE44A8-6196-4159-8C71-F07902D1964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7175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16.png"/><Relationship Id="rId5" Type="http://schemas.openxmlformats.org/officeDocument/2006/relationships/image" Target="../media/image2.png"/><Relationship Id="rId10" Type="http://schemas.openxmlformats.org/officeDocument/2006/relationships/image" Target="../media/image5.png"/><Relationship Id="rId4" Type="http://schemas.openxmlformats.org/officeDocument/2006/relationships/image" Target="../media/image15.emf"/><Relationship Id="rId9" Type="http://schemas.microsoft.com/office/2007/relationships/hdphoto" Target="../media/hdphoto1.wdp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5" Type="http://schemas.openxmlformats.org/officeDocument/2006/relationships/image" Target="../media/image9.png"/><Relationship Id="rId4" Type="http://schemas.openxmlformats.org/officeDocument/2006/relationships/image" Target="../media/image15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5" Type="http://schemas.openxmlformats.org/officeDocument/2006/relationships/image" Target="../media/image8.png"/><Relationship Id="rId4" Type="http://schemas.openxmlformats.org/officeDocument/2006/relationships/image" Target="../media/image1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5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>
            <a:lumMod val="90000"/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8">
            <a:extLst>
              <a:ext uri="{FF2B5EF4-FFF2-40B4-BE49-F238E27FC236}">
                <a16:creationId xmlns:a16="http://schemas.microsoft.com/office/drawing/2014/main" id="{58A55D74-9F3D-A56B-3BCE-B5547E380664}"/>
              </a:ext>
            </a:extLst>
          </p:cNvPr>
          <p:cNvSpPr txBox="1"/>
          <p:nvPr/>
        </p:nvSpPr>
        <p:spPr>
          <a:xfrm>
            <a:off x="1027157" y="5960256"/>
            <a:ext cx="27412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>
                <a:latin typeface="+mj-lt"/>
              </a:rPr>
              <a:t>IFOHRA GmbH </a:t>
            </a:r>
          </a:p>
        </p:txBody>
      </p:sp>
      <p:sp>
        <p:nvSpPr>
          <p:cNvPr id="7" name="TextBox 17">
            <a:extLst>
              <a:ext uri="{FF2B5EF4-FFF2-40B4-BE49-F238E27FC236}">
                <a16:creationId xmlns:a16="http://schemas.microsoft.com/office/drawing/2014/main" id="{7DB811C3-2ABB-D7F9-7B86-DCDA532AD288}"/>
              </a:ext>
            </a:extLst>
          </p:cNvPr>
          <p:cNvSpPr txBox="1"/>
          <p:nvPr userDrawn="1"/>
        </p:nvSpPr>
        <p:spPr>
          <a:xfrm>
            <a:off x="225084" y="6393987"/>
            <a:ext cx="40245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/>
              <a:t>Institute </a:t>
            </a:r>
            <a:r>
              <a:rPr lang="de-DE" sz="1400" err="1"/>
              <a:t>for</a:t>
            </a:r>
            <a:r>
              <a:rPr lang="de-DE" sz="1400"/>
              <a:t> Healthcare Robotics and Automation</a:t>
            </a:r>
          </a:p>
        </p:txBody>
      </p:sp>
      <p:pic>
        <p:nvPicPr>
          <p:cNvPr id="9" name="Grafik 14">
            <a:extLst>
              <a:ext uri="{FF2B5EF4-FFF2-40B4-BE49-F238E27FC236}">
                <a16:creationId xmlns:a16="http://schemas.microsoft.com/office/drawing/2014/main" id="{2B3975CF-38A9-FADB-6B08-922CC9C9A9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2634" y="6116479"/>
            <a:ext cx="1488336" cy="577562"/>
          </a:xfrm>
          <a:prstGeom prst="rect">
            <a:avLst/>
          </a:prstGeom>
        </p:spPr>
      </p:pic>
      <p:sp>
        <p:nvSpPr>
          <p:cNvPr id="14" name="TextBox 24">
            <a:extLst>
              <a:ext uri="{FF2B5EF4-FFF2-40B4-BE49-F238E27FC236}">
                <a16:creationId xmlns:a16="http://schemas.microsoft.com/office/drawing/2014/main" id="{F0EA96D2-08CF-8480-618C-7863B3F3683B}"/>
              </a:ext>
            </a:extLst>
          </p:cNvPr>
          <p:cNvSpPr txBox="1"/>
          <p:nvPr userDrawn="1"/>
        </p:nvSpPr>
        <p:spPr>
          <a:xfrm>
            <a:off x="5051731" y="6421921"/>
            <a:ext cx="14261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/>
              <a:t>Ein Spin-off von</a:t>
            </a:r>
          </a:p>
        </p:txBody>
      </p:sp>
      <p:pic>
        <p:nvPicPr>
          <p:cNvPr id="15" name="Grafik 14" descr="Ein Bild, das Text, drinnen, silbern enthält.&#10;&#10;Automatisch generierte Beschreibung">
            <a:extLst>
              <a:ext uri="{FF2B5EF4-FFF2-40B4-BE49-F238E27FC236}">
                <a16:creationId xmlns:a16="http://schemas.microsoft.com/office/drawing/2014/main" id="{C4972C23-2088-4094-0835-F14D71BEE34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096" y="-907951"/>
            <a:ext cx="12198096" cy="6068080"/>
          </a:xfrm>
          <a:custGeom>
            <a:avLst/>
            <a:gdLst/>
            <a:ahLst/>
            <a:cxnLst/>
            <a:rect l="l" t="t" r="r" b="b"/>
            <a:pathLst>
              <a:path w="12187427" h="6003852">
                <a:moveTo>
                  <a:pt x="0" y="0"/>
                </a:moveTo>
                <a:lnTo>
                  <a:pt x="12187427" y="0"/>
                </a:lnTo>
                <a:lnTo>
                  <a:pt x="12187427" y="4772371"/>
                </a:lnTo>
                <a:lnTo>
                  <a:pt x="11865111" y="4913285"/>
                </a:lnTo>
                <a:cubicBezTo>
                  <a:pt x="10225213" y="5601147"/>
                  <a:pt x="8237833" y="6003852"/>
                  <a:pt x="6096000" y="6003852"/>
                </a:cubicBezTo>
                <a:cubicBezTo>
                  <a:pt x="3811379" y="6003852"/>
                  <a:pt x="1702489" y="5545663"/>
                  <a:pt x="3601" y="4771946"/>
                </a:cubicBezTo>
                <a:lnTo>
                  <a:pt x="0" y="4770223"/>
                </a:lnTo>
                <a:close/>
              </a:path>
            </a:pathLst>
          </a:custGeom>
          <a:ln w="3175">
            <a:solidFill>
              <a:schemeClr val="tx1"/>
            </a:solidFill>
          </a:ln>
        </p:spPr>
      </p:pic>
      <p:pic>
        <p:nvPicPr>
          <p:cNvPr id="20" name="Grafik 19" descr="Ein Bild, das Text, drinnen, silbern enthält.&#10;&#10;Automatisch generierte Beschreibung">
            <a:extLst>
              <a:ext uri="{FF2B5EF4-FFF2-40B4-BE49-F238E27FC236}">
                <a16:creationId xmlns:a16="http://schemas.microsoft.com/office/drawing/2014/main" id="{4F1F7557-C13E-B82D-4D92-F5B4CAC95B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duotone>
              <a:prstClr val="black"/>
              <a:schemeClr val="bg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6717" r="89924">
                        <a14:foregroundMark x1="45720" y1="30000" x2="56119" y2="26870"/>
                        <a14:foregroundMark x1="59891" y1="27275" x2="61972" y2="27609"/>
                        <a14:foregroundMark x1="63829" y1="23261" x2="65222" y2="20000"/>
                        <a14:foregroundMark x1="63086" y1="25000" x2="63829" y2="23261"/>
                        <a14:foregroundMark x1="61972" y1="27609" x2="63086" y2="25000"/>
                        <a14:foregroundMark x1="65222" y1="20000" x2="69556" y2="20652"/>
                        <a14:foregroundMark x1="69556" y1="20652" x2="71939" y2="28478"/>
                        <a14:foregroundMark x1="71939" y1="28478" x2="73241" y2="51677"/>
                        <a14:foregroundMark x1="71478" y1="71844" x2="70856" y2="83913"/>
                        <a14:foregroundMark x1="70856" y1="83913" x2="63164" y2="71522"/>
                        <a14:foregroundMark x1="63164" y1="71522" x2="62189" y2="82826"/>
                        <a14:foregroundMark x1="62189" y1="82826" x2="57556" y2="81029"/>
                        <a14:foregroundMark x1="46707" y1="80660" x2="45947" y2="81491"/>
                        <a14:foregroundMark x1="44088" y1="69144" x2="45031" y2="67398"/>
                        <a14:foregroundMark x1="62622" y1="49130" x2="62622" y2="49130"/>
                        <a14:foregroundMark x1="65330" y1="42391" x2="65330" y2="42391"/>
                        <a14:foregroundMark x1="64572" y1="18261" x2="64572" y2="18261"/>
                        <a14:foregroundMark x1="66414" y1="16957" x2="66414" y2="16957"/>
                        <a14:foregroundMark x1="68039" y1="18478" x2="68039" y2="18478"/>
                        <a14:foregroundMark x1="67281" y1="17391" x2="67281" y2="17391"/>
                        <a14:foregroundMark x1="68581" y1="18043" x2="64030" y2="17609"/>
                        <a14:foregroundMark x1="62238" y1="25000" x2="62080" y2="25652"/>
                        <a14:foregroundMark x1="62660" y1="23261" x2="62238" y2="25000"/>
                        <a14:foregroundMark x1="64030" y1="17609" x2="62660" y2="23261"/>
                        <a14:foregroundMark x1="62080" y1="25652" x2="62080" y2="26087"/>
                        <a14:foregroundMark x1="45720" y1="33696" x2="45720" y2="33696"/>
                        <a14:foregroundMark x1="44204" y1="37826" x2="44204" y2="37826"/>
                        <a14:foregroundMark x1="43445" y1="41304" x2="43445" y2="41304"/>
                        <a14:foregroundMark x1="43770" y1="42826" x2="43770" y2="42826"/>
                        <a14:foregroundMark x1="42904" y1="38261" x2="42904" y2="38261"/>
                        <a14:foregroundMark x1="42037" y1="40217" x2="42037" y2="40217"/>
                        <a14:foregroundMark x1="46082" y1="68723" x2="44312" y2="73261"/>
                        <a14:foregroundMark x1="47237" y1="70652" x2="51354" y2="70435"/>
                        <a14:foregroundMark x1="51354" y1="70435" x2="52438" y2="72609"/>
                        <a14:foregroundMark x1="45720" y1="32174" x2="44745" y2="34348"/>
                        <a14:foregroundMark x1="44854" y1="35435" x2="44095" y2="37174"/>
                        <a14:foregroundMark x1="42037" y1="41739" x2="45395" y2="43261"/>
                        <a14:foregroundMark x1="51375" y1="53696" x2="51571" y2="52609"/>
                        <a14:foregroundMark x1="50163" y1="60435" x2="51375" y2="53696"/>
                        <a14:foregroundMark x1="56663" y1="27609" x2="57855" y2="27609"/>
                        <a14:foregroundMark x1="56338" y1="27174" x2="57530" y2="27174"/>
                        <a14:foregroundMark x1="59155" y1="27609" x2="58180" y2="27609"/>
                        <a14:foregroundMark x1="57746" y1="83913" x2="61972" y2="85000"/>
                        <a14:foregroundMark x1="61972" y1="85000" x2="61972" y2="84565"/>
                        <a14:foregroundMark x1="19177" y1="25870" x2="23510" y2="34783"/>
                        <a14:foregroundMark x1="23510" y1="34783" x2="25785" y2="44348"/>
                        <a14:foregroundMark x1="24963" y1="49225" x2="23185" y2="59783"/>
                        <a14:foregroundMark x1="25785" y1="44348" x2="24986" y2="49091"/>
                        <a14:foregroundMark x1="21343" y1="38261" x2="20739" y2="47790"/>
                        <a14:foregroundMark x1="16544" y1="63552" x2="15710" y2="66304"/>
                        <a14:foregroundMark x1="15710" y1="66304" x2="8451" y2="35435"/>
                        <a14:foregroundMark x1="8451" y1="35435" x2="4875" y2="32174"/>
                        <a14:foregroundMark x1="4875" y1="32174" x2="6717" y2="25000"/>
                        <a14:foregroundMark x1="12173" y1="21840" x2="17226" y2="18913"/>
                        <a14:foregroundMark x1="6717" y1="25000" x2="9455" y2="23414"/>
                        <a14:foregroundMark x1="17226" y1="18913" x2="17443" y2="27826"/>
                        <a14:foregroundMark x1="17443" y1="27826" x2="20910" y2="32391"/>
                        <a14:foregroundMark x1="20910" y1="32391" x2="20802" y2="39348"/>
                        <a14:foregroundMark x1="21993" y1="60435" x2="21993" y2="60435"/>
                        <a14:foregroundMark x1="21018" y1="61957" x2="21018" y2="61957"/>
                        <a14:foregroundMark x1="23835" y1="65000" x2="23835" y2="65000"/>
                        <a14:foregroundMark x1="24485" y1="64348" x2="24485" y2="64348"/>
                        <a14:foregroundMark x1="24269" y1="64130" x2="24269" y2="64130"/>
                        <a14:foregroundMark x1="21127" y1="62609" x2="21127" y2="62609"/>
                        <a14:foregroundMark x1="14085" y1="67174" x2="14085" y2="67174"/>
                        <a14:foregroundMark x1="15276" y1="67609" x2="15276" y2="67609"/>
                        <a14:foregroundMark x1="15168" y1="68696" x2="15168" y2="68696"/>
                        <a14:backgroundMark x1="74323" y1="51304" x2="75298" y2="62609"/>
                        <a14:backgroundMark x1="75298" y1="62609" x2="72156" y2="72609"/>
                        <a14:backgroundMark x1="40731" y1="40217" x2="40087" y2="41957"/>
                        <a14:backgroundMark x1="41455" y1="38261" x2="40731" y2="40217"/>
                        <a14:backgroundMark x1="42637" y1="35070" x2="41455" y2="38261"/>
                        <a14:backgroundMark x1="40087" y1="41957" x2="40087" y2="42826"/>
                        <a14:backgroundMark x1="39978" y1="42826" x2="42362" y2="67609"/>
                        <a14:backgroundMark x1="42362" y1="67609" x2="41170" y2="79565"/>
                        <a14:backgroundMark x1="42687" y1="77174" x2="42687" y2="77174"/>
                        <a14:backgroundMark x1="43445" y1="79565" x2="43445" y2="79565"/>
                        <a14:backgroundMark x1="43229" y1="77609" x2="44312" y2="83261"/>
                        <a14:backgroundMark x1="47021" y1="82609" x2="46811" y2="73757"/>
                        <a14:backgroundMark x1="51673" y1="73813" x2="57205" y2="85652"/>
                        <a14:backgroundMark x1="47346" y1="77609" x2="51679" y2="78261"/>
                        <a14:backgroundMark x1="51679" y1="78261" x2="51679" y2="79348"/>
                        <a14:backgroundMark x1="43229" y1="54348" x2="47021" y2="58696"/>
                        <a14:backgroundMark x1="47021" y1="58696" x2="44312" y2="62609"/>
                        <a14:backgroundMark x1="46587" y1="53043" x2="49621" y2="59130"/>
                        <a14:backgroundMark x1="49621" y1="59130" x2="45720" y2="64783"/>
                        <a14:backgroundMark x1="45720" y1="64783" x2="44854" y2="67174"/>
                        <a14:backgroundMark x1="48537" y1="53043" x2="49404" y2="62826"/>
                        <a14:backgroundMark x1="46075" y1="40101" x2="47671" y2="36522"/>
                        <a14:backgroundMark x1="48537" y1="37609" x2="52113" y2="40652"/>
                        <a14:backgroundMark x1="52113" y1="40652" x2="52113" y2="40652"/>
                        <a14:backgroundMark x1="50813" y1="37174" x2="52113" y2="45000"/>
                        <a14:backgroundMark x1="52113" y1="45000" x2="49187" y2="51957"/>
                        <a14:backgroundMark x1="49729" y1="53696" x2="49729" y2="53696"/>
                        <a14:backgroundMark x1="49621" y1="52391" x2="49621" y2="52391"/>
                        <a14:backgroundMark x1="62189" y1="23261" x2="62189" y2="23261"/>
                        <a14:backgroundMark x1="61972" y1="25000" x2="61972" y2="25000"/>
                        <a14:backgroundMark x1="56230" y1="26522" x2="56663" y2="26522"/>
                        <a14:backgroundMark x1="58810" y1="26522" x2="60130" y2="26522"/>
                        <a14:backgroundMark x1="56446" y1="26304" x2="56609" y2="26321"/>
                        <a14:backgroundMark x1="30444" y1="44130" x2="35645" y2="47609"/>
                        <a14:backgroundMark x1="27736" y1="49565" x2="27194" y2="53478"/>
                        <a14:backgroundMark x1="32286" y1="52826" x2="35970" y2="59130"/>
                        <a14:backgroundMark x1="35970" y1="59130" x2="35320" y2="66522"/>
                        <a14:backgroundMark x1="30661" y1="55870" x2="32936" y2="65652"/>
                        <a14:backgroundMark x1="32936" y1="65652" x2="32286" y2="65870"/>
                        <a14:backgroundMark x1="29252" y1="58478" x2="29252" y2="67174"/>
                        <a14:backgroundMark x1="29252" y1="67174" x2="29144" y2="66739"/>
                        <a14:backgroundMark x1="21127" y1="50217" x2="18093" y2="64783"/>
                        <a14:backgroundMark x1="21560" y1="50217" x2="23835" y2="51957"/>
                        <a14:backgroundMark x1="22427" y1="50217" x2="20802" y2="51522"/>
                        <a14:backgroundMark x1="11484" y1="23043" x2="11484" y2="23043"/>
                        <a14:backgroundMark x1="10943" y1="21957" x2="11918" y2="21739"/>
                        <a14:backgroundMark x1="9751" y1="22391" x2="11918" y2="21739"/>
                        <a14:backgroundMark x1="11593" y1="22609" x2="12243" y2="2152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1" y="-907951"/>
            <a:ext cx="12191999" cy="6068080"/>
          </a:xfrm>
          <a:custGeom>
            <a:avLst/>
            <a:gdLst/>
            <a:ahLst/>
            <a:cxnLst/>
            <a:rect l="l" t="t" r="r" b="b"/>
            <a:pathLst>
              <a:path w="12187427" h="6003852">
                <a:moveTo>
                  <a:pt x="0" y="0"/>
                </a:moveTo>
                <a:lnTo>
                  <a:pt x="12187427" y="0"/>
                </a:lnTo>
                <a:lnTo>
                  <a:pt x="12187427" y="4772371"/>
                </a:lnTo>
                <a:lnTo>
                  <a:pt x="11865111" y="4913285"/>
                </a:lnTo>
                <a:cubicBezTo>
                  <a:pt x="10225213" y="5601147"/>
                  <a:pt x="8237833" y="6003852"/>
                  <a:pt x="6096000" y="6003852"/>
                </a:cubicBezTo>
                <a:cubicBezTo>
                  <a:pt x="3811379" y="6003852"/>
                  <a:pt x="1702489" y="5545663"/>
                  <a:pt x="3601" y="4771946"/>
                </a:cubicBezTo>
                <a:lnTo>
                  <a:pt x="0" y="4770223"/>
                </a:lnTo>
                <a:close/>
              </a:path>
            </a:pathLst>
          </a:custGeom>
          <a:ln w="3175">
            <a:solidFill>
              <a:schemeClr val="tx1"/>
            </a:solidFill>
          </a:ln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3A7ACDE-F77E-A1D8-2F91-2EEC1FBA3DC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974" y="5635363"/>
            <a:ext cx="649785" cy="649785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F9D0B2C1-4B51-D667-9145-70AAA5FCFA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t="37917" b="32057"/>
          <a:stretch/>
        </p:blipFill>
        <p:spPr>
          <a:xfrm>
            <a:off x="8467295" y="6122706"/>
            <a:ext cx="3673302" cy="735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1104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0D9BF0F-5760-1D57-435B-E7E00B128164}"/>
              </a:ext>
            </a:extLst>
          </p:cNvPr>
          <p:cNvSpPr txBox="1">
            <a:spLocks/>
          </p:cNvSpPr>
          <p:nvPr userDrawn="1"/>
        </p:nvSpPr>
        <p:spPr>
          <a:xfrm>
            <a:off x="4038600" y="654517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>
                <a:solidFill>
                  <a:prstClr val="black">
                    <a:tint val="75000"/>
                  </a:prstClr>
                </a:solidFill>
              </a:rPr>
              <a:t>Copyright© IFOHRA GmbH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4988CF08-D4F1-BD72-87B9-361788DECD7B}"/>
              </a:ext>
            </a:extLst>
          </p:cNvPr>
          <p:cNvSpPr/>
          <p:nvPr userDrawn="1"/>
        </p:nvSpPr>
        <p:spPr>
          <a:xfrm>
            <a:off x="0" y="-11975"/>
            <a:ext cx="12192000" cy="899092"/>
          </a:xfrm>
          <a:prstGeom prst="rect">
            <a:avLst/>
          </a:prstGeom>
          <a:solidFill>
            <a:srgbClr val="427B7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 descr="Ein Bild, das Text, Screenshot, Design enthält.&#10;&#10;Automatisch generierte Beschreibung">
            <a:extLst>
              <a:ext uri="{FF2B5EF4-FFF2-40B4-BE49-F238E27FC236}">
                <a16:creationId xmlns:a16="http://schemas.microsoft.com/office/drawing/2014/main" id="{36AE9B45-64D2-C481-966B-1B1386790C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97437" y="84989"/>
            <a:ext cx="7997125" cy="757239"/>
          </a:xfrm>
          <a:prstGeom prst="rect">
            <a:avLst/>
          </a:prstGeom>
        </p:spPr>
      </p:pic>
      <p:pic>
        <p:nvPicPr>
          <p:cNvPr id="6" name="Grafik 5" descr="Ein Bild, das Text, Grafiken, Schrift, Grafikdesign enthält.&#10;&#10;Automatisch generierte Beschreibung">
            <a:extLst>
              <a:ext uri="{FF2B5EF4-FFF2-40B4-BE49-F238E27FC236}">
                <a16:creationId xmlns:a16="http://schemas.microsoft.com/office/drawing/2014/main" id="{58E983D8-53B7-8AA8-EC8A-1C203D2AD3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022" y="110864"/>
            <a:ext cx="640650" cy="640650"/>
          </a:xfrm>
          <a:prstGeom prst="rect">
            <a:avLst/>
          </a:prstGeom>
        </p:spPr>
      </p:pic>
      <p:pic>
        <p:nvPicPr>
          <p:cNvPr id="7" name="Picture 2" descr="Kliniken Landkreis Heidenheim gGmbH">
            <a:extLst>
              <a:ext uri="{FF2B5EF4-FFF2-40B4-BE49-F238E27FC236}">
                <a16:creationId xmlns:a16="http://schemas.microsoft.com/office/drawing/2014/main" id="{AC298DFB-43EB-0768-5399-094B6E299EC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6264" y="149978"/>
            <a:ext cx="870709" cy="580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4144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B972C5-D6D6-70E5-E2AD-DE4B39AED9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456E62E-F751-14B7-2C37-67F3A3C743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76758C0-4C81-480C-899E-5EBC05712BD4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2.202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8377BB4-163F-2180-9F4E-C33BDF7B8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57C5F15-2C08-3B87-DCC4-ADF7B1B62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883C01-AAC5-4300-9B1D-B25CF93DA964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489C06F-7B34-FA6F-FA5C-EEEA4CA2CC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  <p:sp>
        <p:nvSpPr>
          <p:cNvPr id="4" name="Fußzeilenplatzhalter 1">
            <a:extLst>
              <a:ext uri="{FF2B5EF4-FFF2-40B4-BE49-F238E27FC236}">
                <a16:creationId xmlns:a16="http://schemas.microsoft.com/office/drawing/2014/main" id="{0DA0FFF8-5367-3486-95CF-94C0DCAF0CD4}"/>
              </a:ext>
            </a:extLst>
          </p:cNvPr>
          <p:cNvSpPr txBox="1">
            <a:spLocks/>
          </p:cNvSpPr>
          <p:nvPr userDrawn="1"/>
        </p:nvSpPr>
        <p:spPr>
          <a:xfrm>
            <a:off x="4038600" y="654517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>
                <a:solidFill>
                  <a:prstClr val="black">
                    <a:tint val="75000"/>
                  </a:prstClr>
                </a:solidFill>
              </a:rPr>
              <a:t>Copyright© IFOHRA GmbH</a:t>
            </a:r>
          </a:p>
        </p:txBody>
      </p:sp>
    </p:spTree>
    <p:extLst>
      <p:ext uri="{BB962C8B-B14F-4D97-AF65-F5344CB8AC3E}">
        <p14:creationId xmlns:p14="http://schemas.microsoft.com/office/powerpoint/2010/main" val="16535798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A0CE17E-51A2-3E6B-98CC-74BC1D5598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343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A0CE17E-51A2-3E6B-98CC-74BC1D5598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F64C6A1A-0F55-B21D-250E-670B1CF9EB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23808B3-DCAB-2BA0-2A1F-F84C53DFA6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98711F2-B640-18AC-E364-0D3983E3BF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76758C0-4C81-480C-899E-5EBC05712BD4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2.202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80E3A0AC-3BC2-12D0-DC8A-FAFEAAC60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F877E70-4E3F-1586-9770-34671F8CC7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883C01-AAC5-4300-9B1D-B25CF93DA964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2630A2D2-4403-1BAD-F5A1-B768D9037BF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  <p:sp>
        <p:nvSpPr>
          <p:cNvPr id="5" name="Fußzeilenplatzhalter 1">
            <a:extLst>
              <a:ext uri="{FF2B5EF4-FFF2-40B4-BE49-F238E27FC236}">
                <a16:creationId xmlns:a16="http://schemas.microsoft.com/office/drawing/2014/main" id="{2F592FE0-2049-1BD6-5550-1BC9E5A57EEE}"/>
              </a:ext>
            </a:extLst>
          </p:cNvPr>
          <p:cNvSpPr txBox="1">
            <a:spLocks/>
          </p:cNvSpPr>
          <p:nvPr userDrawn="1"/>
        </p:nvSpPr>
        <p:spPr>
          <a:xfrm>
            <a:off x="4038600" y="6559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>
                <a:solidFill>
                  <a:prstClr val="black">
                    <a:tint val="75000"/>
                  </a:prstClr>
                </a:solidFill>
              </a:rPr>
              <a:t>Copyright© IFOHRA GmbH</a:t>
            </a:r>
          </a:p>
        </p:txBody>
      </p:sp>
    </p:spTree>
    <p:extLst>
      <p:ext uri="{BB962C8B-B14F-4D97-AF65-F5344CB8AC3E}">
        <p14:creationId xmlns:p14="http://schemas.microsoft.com/office/powerpoint/2010/main" val="32362648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342B395-7654-F9E1-2E5A-24F2631169E2}"/>
              </a:ext>
            </a:extLst>
          </p:cNvPr>
          <p:cNvCxnSpPr>
            <a:cxnSpLocks/>
          </p:cNvCxnSpPr>
          <p:nvPr userDrawn="1"/>
        </p:nvCxnSpPr>
        <p:spPr>
          <a:xfrm>
            <a:off x="2264228" y="1071987"/>
            <a:ext cx="0" cy="4312813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93DE00EE-7E23-8B63-62C7-60F1E61F2816}"/>
              </a:ext>
            </a:extLst>
          </p:cNvPr>
          <p:cNvSpPr/>
          <p:nvPr userDrawn="1"/>
        </p:nvSpPr>
        <p:spPr>
          <a:xfrm>
            <a:off x="661951" y="2011399"/>
            <a:ext cx="1313793" cy="218615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Light"/>
              <a:ea typeface="+mn-ea"/>
              <a:cs typeface="+mn-cs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2BD691F-208C-373A-8411-6BEE682F10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622" y="2120206"/>
            <a:ext cx="1114445" cy="111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1438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ke_oder_end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3BEB47-7278-7790-1500-F262111C47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883C01-AAC5-4300-9B1D-B25CF93DA96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Poppins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Poppins Light"/>
              <a:ea typeface="+mn-ea"/>
              <a:cs typeface="+mn-cs"/>
            </a:endParaRPr>
          </a:p>
        </p:txBody>
      </p:sp>
      <p:pic>
        <p:nvPicPr>
          <p:cNvPr id="3" name="Grafik 2" descr="Ein Bild, das Text, drinnen, silbern enthält.&#10;&#10;Automatisch generierte Beschreibung">
            <a:extLst>
              <a:ext uri="{FF2B5EF4-FFF2-40B4-BE49-F238E27FC236}">
                <a16:creationId xmlns:a16="http://schemas.microsoft.com/office/drawing/2014/main" id="{F2A7C317-AD22-A72D-1D4E-3AC392441D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2632" y="0"/>
            <a:ext cx="8129368" cy="6858000"/>
          </a:xfrm>
          <a:custGeom>
            <a:avLst/>
            <a:gdLst/>
            <a:ahLst/>
            <a:cxnLst/>
            <a:rect l="l" t="t" r="r" b="b"/>
            <a:pathLst>
              <a:path w="8129366" h="6858000">
                <a:moveTo>
                  <a:pt x="1619628" y="0"/>
                </a:moveTo>
                <a:lnTo>
                  <a:pt x="4520115" y="0"/>
                </a:lnTo>
                <a:lnTo>
                  <a:pt x="6067239" y="0"/>
                </a:lnTo>
                <a:lnTo>
                  <a:pt x="8129366" y="0"/>
                </a:lnTo>
                <a:lnTo>
                  <a:pt x="8129366" y="6858000"/>
                </a:lnTo>
                <a:lnTo>
                  <a:pt x="6067239" y="6858000"/>
                </a:lnTo>
                <a:lnTo>
                  <a:pt x="4520115" y="6858000"/>
                </a:lnTo>
                <a:lnTo>
                  <a:pt x="1619627" y="6858000"/>
                </a:lnTo>
                <a:lnTo>
                  <a:pt x="1615622" y="6854853"/>
                </a:lnTo>
                <a:cubicBezTo>
                  <a:pt x="628921" y="6040555"/>
                  <a:pt x="0" y="4808224"/>
                  <a:pt x="0" y="3429000"/>
                </a:cubicBezTo>
                <a:cubicBezTo>
                  <a:pt x="0" y="2049777"/>
                  <a:pt x="628921" y="817446"/>
                  <a:pt x="1615622" y="3148"/>
                </a:cubicBezTo>
                <a:close/>
              </a:path>
            </a:pathLst>
          </a:custGeom>
        </p:spPr>
      </p:pic>
      <p:sp>
        <p:nvSpPr>
          <p:cNvPr id="10" name="TextBox 18">
            <a:extLst>
              <a:ext uri="{FF2B5EF4-FFF2-40B4-BE49-F238E27FC236}">
                <a16:creationId xmlns:a16="http://schemas.microsoft.com/office/drawing/2014/main" id="{D2CBD72A-839D-CB8D-A642-C800320C0D2E}"/>
              </a:ext>
            </a:extLst>
          </p:cNvPr>
          <p:cNvSpPr txBox="1"/>
          <p:nvPr/>
        </p:nvSpPr>
        <p:spPr>
          <a:xfrm>
            <a:off x="1027157" y="5960256"/>
            <a:ext cx="27412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>
                <a:latin typeface="+mj-lt"/>
              </a:rPr>
              <a:t>IFOHRA GmbH </a:t>
            </a:r>
          </a:p>
        </p:txBody>
      </p:sp>
      <p:sp>
        <p:nvSpPr>
          <p:cNvPr id="12" name="TextBox 17">
            <a:extLst>
              <a:ext uri="{FF2B5EF4-FFF2-40B4-BE49-F238E27FC236}">
                <a16:creationId xmlns:a16="http://schemas.microsoft.com/office/drawing/2014/main" id="{4B3FA7A7-C05F-2B8A-DCAE-8E5544BD1946}"/>
              </a:ext>
            </a:extLst>
          </p:cNvPr>
          <p:cNvSpPr txBox="1"/>
          <p:nvPr userDrawn="1"/>
        </p:nvSpPr>
        <p:spPr>
          <a:xfrm>
            <a:off x="225084" y="6393987"/>
            <a:ext cx="40245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/>
              <a:t>Institute </a:t>
            </a:r>
            <a:r>
              <a:rPr lang="de-DE" sz="1400" err="1"/>
              <a:t>for</a:t>
            </a:r>
            <a:r>
              <a:rPr lang="de-DE" sz="1400"/>
              <a:t> Healthcare Robotics and Automation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8465B8EF-3E97-21F7-249D-FE3E6F3C38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811" y="5660571"/>
            <a:ext cx="695779" cy="695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5880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5D124C-432F-4B7F-DB73-53B6E882D3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C736766-793C-2C1C-06D9-1F652D0ABA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E1F3935-FD83-964F-AAB5-98A5C6C810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5AA10B-F5AB-4889-8204-35E1D98363B9}" type="datetimeFigureOut">
              <a:rPr lang="de-DE" smtClean="0"/>
              <a:t>17.02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BAEF0B1-ACF5-A7A1-51CC-F949D7D346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02038A-EE17-1348-9526-E72A480BFE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350756-660F-4A79-A566-6E0DE9829B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96418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>
            <a:lumMod val="90000"/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5EA9277-5822-5D52-A2B2-7B747BAFFC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8735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5EA9277-5822-5D52-A2B2-7B747BAFFC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8">
            <a:extLst>
              <a:ext uri="{FF2B5EF4-FFF2-40B4-BE49-F238E27FC236}">
                <a16:creationId xmlns:a16="http://schemas.microsoft.com/office/drawing/2014/main" id="{58A55D74-9F3D-A56B-3BCE-B5547E380664}"/>
              </a:ext>
            </a:extLst>
          </p:cNvPr>
          <p:cNvSpPr txBox="1"/>
          <p:nvPr/>
        </p:nvSpPr>
        <p:spPr>
          <a:xfrm>
            <a:off x="1027157" y="5960256"/>
            <a:ext cx="27412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GB" sz="2400">
                <a:latin typeface="+mj-lt"/>
              </a:rPr>
              <a:t>IFOHRA GmbH </a:t>
            </a:r>
          </a:p>
        </p:txBody>
      </p:sp>
      <p:sp>
        <p:nvSpPr>
          <p:cNvPr id="7" name="TextBox 17">
            <a:extLst>
              <a:ext uri="{FF2B5EF4-FFF2-40B4-BE49-F238E27FC236}">
                <a16:creationId xmlns:a16="http://schemas.microsoft.com/office/drawing/2014/main" id="{7DB811C3-2ABB-D7F9-7B86-DCDA532AD288}"/>
              </a:ext>
            </a:extLst>
          </p:cNvPr>
          <p:cNvSpPr txBox="1"/>
          <p:nvPr userDrawn="1"/>
        </p:nvSpPr>
        <p:spPr>
          <a:xfrm>
            <a:off x="225084" y="6393987"/>
            <a:ext cx="40245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GB" sz="1400"/>
              <a:t>Institute for Healthcare Robotics and Automation</a:t>
            </a:r>
          </a:p>
        </p:txBody>
      </p:sp>
      <p:pic>
        <p:nvPicPr>
          <p:cNvPr id="9" name="Grafik 14">
            <a:extLst>
              <a:ext uri="{FF2B5EF4-FFF2-40B4-BE49-F238E27FC236}">
                <a16:creationId xmlns:a16="http://schemas.microsoft.com/office/drawing/2014/main" id="{2B3975CF-38A9-FADB-6B08-922CC9C9A9B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2634" y="6116479"/>
            <a:ext cx="1488336" cy="577562"/>
          </a:xfrm>
          <a:prstGeom prst="rect">
            <a:avLst/>
          </a:prstGeom>
        </p:spPr>
      </p:pic>
      <p:pic>
        <p:nvPicPr>
          <p:cNvPr id="10" name="Picture 23" descr="Text&#10;&#10;Description automatically generated">
            <a:extLst>
              <a:ext uri="{FF2B5EF4-FFF2-40B4-BE49-F238E27FC236}">
                <a16:creationId xmlns:a16="http://schemas.microsoft.com/office/drawing/2014/main" id="{DF269DCC-5264-3F9E-C961-3643FE3B559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3303" y="6104548"/>
            <a:ext cx="3652454" cy="634747"/>
          </a:xfrm>
          <a:prstGeom prst="rect">
            <a:avLst/>
          </a:prstGeom>
        </p:spPr>
      </p:pic>
      <p:sp>
        <p:nvSpPr>
          <p:cNvPr id="14" name="TextBox 24">
            <a:extLst>
              <a:ext uri="{FF2B5EF4-FFF2-40B4-BE49-F238E27FC236}">
                <a16:creationId xmlns:a16="http://schemas.microsoft.com/office/drawing/2014/main" id="{F0EA96D2-08CF-8480-618C-7863B3F3683B}"/>
              </a:ext>
            </a:extLst>
          </p:cNvPr>
          <p:cNvSpPr txBox="1"/>
          <p:nvPr userDrawn="1"/>
        </p:nvSpPr>
        <p:spPr>
          <a:xfrm>
            <a:off x="5051731" y="6421921"/>
            <a:ext cx="14261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GB" sz="1200"/>
              <a:t>Ein Spin-off von</a:t>
            </a:r>
          </a:p>
        </p:txBody>
      </p:sp>
      <p:pic>
        <p:nvPicPr>
          <p:cNvPr id="15" name="Grafik 14" descr="Ein Bild, das Text, drinnen, silbern enthält.&#10;&#10;Automatisch generierte Beschreibung">
            <a:extLst>
              <a:ext uri="{FF2B5EF4-FFF2-40B4-BE49-F238E27FC236}">
                <a16:creationId xmlns:a16="http://schemas.microsoft.com/office/drawing/2014/main" id="{C4972C23-2088-4094-0835-F14D71BEE34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096" y="-907951"/>
            <a:ext cx="12198096" cy="6068080"/>
          </a:xfrm>
          <a:custGeom>
            <a:avLst/>
            <a:gdLst/>
            <a:ahLst/>
            <a:cxnLst/>
            <a:rect l="l" t="t" r="r" b="b"/>
            <a:pathLst>
              <a:path w="12187427" h="6003852">
                <a:moveTo>
                  <a:pt x="0" y="0"/>
                </a:moveTo>
                <a:lnTo>
                  <a:pt x="12187427" y="0"/>
                </a:lnTo>
                <a:lnTo>
                  <a:pt x="12187427" y="4772371"/>
                </a:lnTo>
                <a:lnTo>
                  <a:pt x="11865111" y="4913285"/>
                </a:lnTo>
                <a:cubicBezTo>
                  <a:pt x="10225213" y="5601147"/>
                  <a:pt x="8237833" y="6003852"/>
                  <a:pt x="6096000" y="6003852"/>
                </a:cubicBezTo>
                <a:cubicBezTo>
                  <a:pt x="3811379" y="6003852"/>
                  <a:pt x="1702489" y="5545663"/>
                  <a:pt x="3601" y="4771946"/>
                </a:cubicBezTo>
                <a:lnTo>
                  <a:pt x="0" y="4770223"/>
                </a:lnTo>
                <a:close/>
              </a:path>
            </a:pathLst>
          </a:custGeom>
          <a:ln w="3175">
            <a:solidFill>
              <a:schemeClr val="tx1"/>
            </a:solidFill>
          </a:ln>
        </p:spPr>
      </p:pic>
      <p:pic>
        <p:nvPicPr>
          <p:cNvPr id="20" name="Grafik 19" descr="Ein Bild, das Text, drinnen, silbern enthält.&#10;&#10;Automatisch generierte Beschreibung">
            <a:extLst>
              <a:ext uri="{FF2B5EF4-FFF2-40B4-BE49-F238E27FC236}">
                <a16:creationId xmlns:a16="http://schemas.microsoft.com/office/drawing/2014/main" id="{4F1F7557-C13E-B82D-4D92-F5B4CAC95B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duotone>
              <a:prstClr val="black"/>
              <a:schemeClr val="bg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6717" r="89924">
                        <a14:foregroundMark x1="45720" y1="30000" x2="56119" y2="26870"/>
                        <a14:foregroundMark x1="59891" y1="27275" x2="61972" y2="27609"/>
                        <a14:foregroundMark x1="63829" y1="23261" x2="65222" y2="20000"/>
                        <a14:foregroundMark x1="63086" y1="25000" x2="63829" y2="23261"/>
                        <a14:foregroundMark x1="61972" y1="27609" x2="63086" y2="25000"/>
                        <a14:foregroundMark x1="65222" y1="20000" x2="69556" y2="20652"/>
                        <a14:foregroundMark x1="69556" y1="20652" x2="71939" y2="28478"/>
                        <a14:foregroundMark x1="71939" y1="28478" x2="73241" y2="51677"/>
                        <a14:foregroundMark x1="71478" y1="71844" x2="70856" y2="83913"/>
                        <a14:foregroundMark x1="70856" y1="83913" x2="63164" y2="71522"/>
                        <a14:foregroundMark x1="63164" y1="71522" x2="62189" y2="82826"/>
                        <a14:foregroundMark x1="62189" y1="82826" x2="57556" y2="81029"/>
                        <a14:foregroundMark x1="46707" y1="80660" x2="45947" y2="81491"/>
                        <a14:foregroundMark x1="44088" y1="69144" x2="45031" y2="67398"/>
                        <a14:foregroundMark x1="62622" y1="49130" x2="62622" y2="49130"/>
                        <a14:foregroundMark x1="65330" y1="42391" x2="65330" y2="42391"/>
                        <a14:foregroundMark x1="64572" y1="18261" x2="64572" y2="18261"/>
                        <a14:foregroundMark x1="66414" y1="16957" x2="66414" y2="16957"/>
                        <a14:foregroundMark x1="68039" y1="18478" x2="68039" y2="18478"/>
                        <a14:foregroundMark x1="67281" y1="17391" x2="67281" y2="17391"/>
                        <a14:foregroundMark x1="68581" y1="18043" x2="64030" y2="17609"/>
                        <a14:foregroundMark x1="62238" y1="25000" x2="62080" y2="25652"/>
                        <a14:foregroundMark x1="62660" y1="23261" x2="62238" y2="25000"/>
                        <a14:foregroundMark x1="64030" y1="17609" x2="62660" y2="23261"/>
                        <a14:foregroundMark x1="62080" y1="25652" x2="62080" y2="26087"/>
                        <a14:foregroundMark x1="45720" y1="33696" x2="45720" y2="33696"/>
                        <a14:foregroundMark x1="44204" y1="37826" x2="44204" y2="37826"/>
                        <a14:foregroundMark x1="43445" y1="41304" x2="43445" y2="41304"/>
                        <a14:foregroundMark x1="43770" y1="42826" x2="43770" y2="42826"/>
                        <a14:foregroundMark x1="42904" y1="38261" x2="42904" y2="38261"/>
                        <a14:foregroundMark x1="42037" y1="40217" x2="42037" y2="40217"/>
                        <a14:foregroundMark x1="46082" y1="68723" x2="44312" y2="73261"/>
                        <a14:foregroundMark x1="47237" y1="70652" x2="51354" y2="70435"/>
                        <a14:foregroundMark x1="51354" y1="70435" x2="52438" y2="72609"/>
                        <a14:foregroundMark x1="45720" y1="32174" x2="44745" y2="34348"/>
                        <a14:foregroundMark x1="44854" y1="35435" x2="44095" y2="37174"/>
                        <a14:foregroundMark x1="42037" y1="41739" x2="45395" y2="43261"/>
                        <a14:foregroundMark x1="51375" y1="53696" x2="51571" y2="52609"/>
                        <a14:foregroundMark x1="50163" y1="60435" x2="51375" y2="53696"/>
                        <a14:foregroundMark x1="56663" y1="27609" x2="57855" y2="27609"/>
                        <a14:foregroundMark x1="56338" y1="27174" x2="57530" y2="27174"/>
                        <a14:foregroundMark x1="59155" y1="27609" x2="58180" y2="27609"/>
                        <a14:foregroundMark x1="57746" y1="83913" x2="61972" y2="85000"/>
                        <a14:foregroundMark x1="61972" y1="85000" x2="61972" y2="84565"/>
                        <a14:foregroundMark x1="19177" y1="25870" x2="23510" y2="34783"/>
                        <a14:foregroundMark x1="23510" y1="34783" x2="25785" y2="44348"/>
                        <a14:foregroundMark x1="24963" y1="49225" x2="23185" y2="59783"/>
                        <a14:foregroundMark x1="25785" y1="44348" x2="24986" y2="49091"/>
                        <a14:foregroundMark x1="21343" y1="38261" x2="20739" y2="47790"/>
                        <a14:foregroundMark x1="16544" y1="63552" x2="15710" y2="66304"/>
                        <a14:foregroundMark x1="15710" y1="66304" x2="8451" y2="35435"/>
                        <a14:foregroundMark x1="8451" y1="35435" x2="4875" y2="32174"/>
                        <a14:foregroundMark x1="4875" y1="32174" x2="6717" y2="25000"/>
                        <a14:foregroundMark x1="12173" y1="21840" x2="17226" y2="18913"/>
                        <a14:foregroundMark x1="6717" y1="25000" x2="9455" y2="23414"/>
                        <a14:foregroundMark x1="17226" y1="18913" x2="17443" y2="27826"/>
                        <a14:foregroundMark x1="17443" y1="27826" x2="20910" y2="32391"/>
                        <a14:foregroundMark x1="20910" y1="32391" x2="20802" y2="39348"/>
                        <a14:foregroundMark x1="21993" y1="60435" x2="21993" y2="60435"/>
                        <a14:foregroundMark x1="21018" y1="61957" x2="21018" y2="61957"/>
                        <a14:foregroundMark x1="23835" y1="65000" x2="23835" y2="65000"/>
                        <a14:foregroundMark x1="24485" y1="64348" x2="24485" y2="64348"/>
                        <a14:foregroundMark x1="24269" y1="64130" x2="24269" y2="64130"/>
                        <a14:foregroundMark x1="21127" y1="62609" x2="21127" y2="62609"/>
                        <a14:foregroundMark x1="14085" y1="67174" x2="14085" y2="67174"/>
                        <a14:foregroundMark x1="15276" y1="67609" x2="15276" y2="67609"/>
                        <a14:foregroundMark x1="15168" y1="68696" x2="15168" y2="68696"/>
                        <a14:backgroundMark x1="74323" y1="51304" x2="75298" y2="62609"/>
                        <a14:backgroundMark x1="75298" y1="62609" x2="72156" y2="72609"/>
                        <a14:backgroundMark x1="40731" y1="40217" x2="40087" y2="41957"/>
                        <a14:backgroundMark x1="41455" y1="38261" x2="40731" y2="40217"/>
                        <a14:backgroundMark x1="42637" y1="35070" x2="41455" y2="38261"/>
                        <a14:backgroundMark x1="40087" y1="41957" x2="40087" y2="42826"/>
                        <a14:backgroundMark x1="39978" y1="42826" x2="42362" y2="67609"/>
                        <a14:backgroundMark x1="42362" y1="67609" x2="41170" y2="79565"/>
                        <a14:backgroundMark x1="42687" y1="77174" x2="42687" y2="77174"/>
                        <a14:backgroundMark x1="43445" y1="79565" x2="43445" y2="79565"/>
                        <a14:backgroundMark x1="43229" y1="77609" x2="44312" y2="83261"/>
                        <a14:backgroundMark x1="47021" y1="82609" x2="46811" y2="73757"/>
                        <a14:backgroundMark x1="51673" y1="73813" x2="57205" y2="85652"/>
                        <a14:backgroundMark x1="47346" y1="77609" x2="51679" y2="78261"/>
                        <a14:backgroundMark x1="51679" y1="78261" x2="51679" y2="79348"/>
                        <a14:backgroundMark x1="43229" y1="54348" x2="47021" y2="58696"/>
                        <a14:backgroundMark x1="47021" y1="58696" x2="44312" y2="62609"/>
                        <a14:backgroundMark x1="46587" y1="53043" x2="49621" y2="59130"/>
                        <a14:backgroundMark x1="49621" y1="59130" x2="45720" y2="64783"/>
                        <a14:backgroundMark x1="45720" y1="64783" x2="44854" y2="67174"/>
                        <a14:backgroundMark x1="48537" y1="53043" x2="49404" y2="62826"/>
                        <a14:backgroundMark x1="46075" y1="40101" x2="47671" y2="36522"/>
                        <a14:backgroundMark x1="48537" y1="37609" x2="52113" y2="40652"/>
                        <a14:backgroundMark x1="52113" y1="40652" x2="52113" y2="40652"/>
                        <a14:backgroundMark x1="50813" y1="37174" x2="52113" y2="45000"/>
                        <a14:backgroundMark x1="52113" y1="45000" x2="49187" y2="51957"/>
                        <a14:backgroundMark x1="49729" y1="53696" x2="49729" y2="53696"/>
                        <a14:backgroundMark x1="49621" y1="52391" x2="49621" y2="52391"/>
                        <a14:backgroundMark x1="62189" y1="23261" x2="62189" y2="23261"/>
                        <a14:backgroundMark x1="61972" y1="25000" x2="61972" y2="25000"/>
                        <a14:backgroundMark x1="56230" y1="26522" x2="56663" y2="26522"/>
                        <a14:backgroundMark x1="58810" y1="26522" x2="60130" y2="26522"/>
                        <a14:backgroundMark x1="56446" y1="26304" x2="56609" y2="26321"/>
                        <a14:backgroundMark x1="30444" y1="44130" x2="35645" y2="47609"/>
                        <a14:backgroundMark x1="27736" y1="49565" x2="27194" y2="53478"/>
                        <a14:backgroundMark x1="32286" y1="52826" x2="35970" y2="59130"/>
                        <a14:backgroundMark x1="35970" y1="59130" x2="35320" y2="66522"/>
                        <a14:backgroundMark x1="30661" y1="55870" x2="32936" y2="65652"/>
                        <a14:backgroundMark x1="32936" y1="65652" x2="32286" y2="65870"/>
                        <a14:backgroundMark x1="29252" y1="58478" x2="29252" y2="67174"/>
                        <a14:backgroundMark x1="29252" y1="67174" x2="29144" y2="66739"/>
                        <a14:backgroundMark x1="21127" y1="50217" x2="18093" y2="64783"/>
                        <a14:backgroundMark x1="21560" y1="50217" x2="23835" y2="51957"/>
                        <a14:backgroundMark x1="22427" y1="50217" x2="20802" y2="51522"/>
                        <a14:backgroundMark x1="11484" y1="23043" x2="11484" y2="23043"/>
                        <a14:backgroundMark x1="10943" y1="21957" x2="11918" y2="21739"/>
                        <a14:backgroundMark x1="9751" y1="22391" x2="11918" y2="21739"/>
                        <a14:backgroundMark x1="11593" y1="22609" x2="12243" y2="2152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1" y="-907951"/>
            <a:ext cx="12191999" cy="6068080"/>
          </a:xfrm>
          <a:custGeom>
            <a:avLst/>
            <a:gdLst/>
            <a:ahLst/>
            <a:cxnLst/>
            <a:rect l="l" t="t" r="r" b="b"/>
            <a:pathLst>
              <a:path w="12187427" h="6003852">
                <a:moveTo>
                  <a:pt x="0" y="0"/>
                </a:moveTo>
                <a:lnTo>
                  <a:pt x="12187427" y="0"/>
                </a:lnTo>
                <a:lnTo>
                  <a:pt x="12187427" y="4772371"/>
                </a:lnTo>
                <a:lnTo>
                  <a:pt x="11865111" y="4913285"/>
                </a:lnTo>
                <a:cubicBezTo>
                  <a:pt x="10225213" y="5601147"/>
                  <a:pt x="8237833" y="6003852"/>
                  <a:pt x="6096000" y="6003852"/>
                </a:cubicBezTo>
                <a:cubicBezTo>
                  <a:pt x="3811379" y="6003852"/>
                  <a:pt x="1702489" y="5545663"/>
                  <a:pt x="3601" y="4771946"/>
                </a:cubicBezTo>
                <a:lnTo>
                  <a:pt x="0" y="4770223"/>
                </a:lnTo>
                <a:close/>
              </a:path>
            </a:pathLst>
          </a:custGeom>
          <a:ln w="3175">
            <a:solidFill>
              <a:schemeClr val="tx1"/>
            </a:solidFill>
          </a:ln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3A7ACDE-F77E-A1D8-2F91-2EEC1FBA3DC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974" y="5635363"/>
            <a:ext cx="649785" cy="649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542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troduction_Agenda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CE6A9BE-6C2D-C0A3-0A8B-BF90512FA5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6577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CE6A9BE-6C2D-C0A3-0A8B-BF90512FA5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0CA234A2-DB02-A554-A59D-BE8A70E7290D}"/>
              </a:ext>
            </a:extLst>
          </p:cNvPr>
          <p:cNvSpPr/>
          <p:nvPr userDrawn="1"/>
        </p:nvSpPr>
        <p:spPr>
          <a:xfrm>
            <a:off x="2542032" y="2335923"/>
            <a:ext cx="1313793" cy="218615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Light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4A020D5-9C73-4B8A-5017-EEEBE4EAE366}"/>
              </a:ext>
            </a:extLst>
          </p:cNvPr>
          <p:cNvCxnSpPr>
            <a:cxnSpLocks/>
          </p:cNvCxnSpPr>
          <p:nvPr userDrawn="1"/>
        </p:nvCxnSpPr>
        <p:spPr>
          <a:xfrm>
            <a:off x="4038600" y="2057399"/>
            <a:ext cx="17291" cy="27432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FB7A361B-1D2E-A209-252D-14C243AC8B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4526" y="1658408"/>
            <a:ext cx="5157787" cy="3684588"/>
          </a:xfrm>
        </p:spPr>
        <p:txBody>
          <a:bodyPr>
            <a:normAutofit/>
          </a:bodyPr>
          <a:lstStyle>
            <a:lvl1pPr rtl="0">
              <a:defRPr sz="2400"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9D714AD-A913-5118-9702-9EB4C0917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rtl="0">
              <a:defRPr sz="3600"/>
            </a:lvl1pPr>
          </a:lstStyle>
          <a:p>
            <a:endParaRPr lang="en-GB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CD5C6D0-2E0F-646B-7929-4DE4A1C728D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1705" y="2402396"/>
            <a:ext cx="1114445" cy="111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7039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64D96A1-BB16-4242-FA23-32D9CC1E53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9906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64D96A1-BB16-4242-FA23-32D9CC1E53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6E154DB-2AF7-8470-A401-C10B5E123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9C289B-B010-D366-A6E5-DF436DB2989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159BE0F-3D34-3F50-6017-B549AEB785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D76758C0-4C81-480C-899E-5EBC05712B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/02/202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BE54E74-3D82-1B2E-E911-082630476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C0F96B00-19B0-8BA8-FBF3-CDC8E4EE20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B4883C01-AAC5-4300-9B1D-B25CF93DA96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FBD0F81-BA5F-DA5A-70B1-D2A1DDAE63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2758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B759D5A-A01C-218E-9889-512ACD8223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030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B759D5A-A01C-218E-9889-512ACD8223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762A45-EAED-151A-02B9-F93E0E5A06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A7B0E9-32FE-908E-2A90-5DF068E1A65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F79322C-C74B-020E-267D-45A74793DA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D76758C0-4C81-480C-899E-5EBC05712B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/02/202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9B4DAA7E-3410-FB10-403C-3D0421A89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33A2442F-C623-B83A-AD9C-63FB94E1F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B4883C01-AAC5-4300-9B1D-B25CF93DA96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8CD6153-86AF-8087-1012-9895829553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9826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troduction_Agenda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CE6A9BE-6C2D-C0A3-0A8B-BF90512FA5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9030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CE6A9BE-6C2D-C0A3-0A8B-BF90512FA5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0CA234A2-DB02-A554-A59D-BE8A70E7290D}"/>
              </a:ext>
            </a:extLst>
          </p:cNvPr>
          <p:cNvSpPr/>
          <p:nvPr userDrawn="1"/>
        </p:nvSpPr>
        <p:spPr>
          <a:xfrm>
            <a:off x="2542032" y="2335923"/>
            <a:ext cx="1313793" cy="218615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Light"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4A020D5-9C73-4B8A-5017-EEEBE4EAE366}"/>
              </a:ext>
            </a:extLst>
          </p:cNvPr>
          <p:cNvCxnSpPr>
            <a:cxnSpLocks/>
          </p:cNvCxnSpPr>
          <p:nvPr userDrawn="1"/>
        </p:nvCxnSpPr>
        <p:spPr>
          <a:xfrm>
            <a:off x="4038600" y="2057399"/>
            <a:ext cx="17291" cy="274320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FB7A361B-1D2E-A209-252D-14C243AC8B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4526" y="2071363"/>
            <a:ext cx="5157787" cy="3684588"/>
          </a:xfrm>
        </p:spPr>
        <p:txBody>
          <a:bodyPr>
            <a:normAutofit/>
          </a:bodyPr>
          <a:lstStyle>
            <a:lvl1pPr>
              <a:defRPr sz="2400"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9D714AD-A913-5118-9702-9EB4C0917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CD5C6D0-2E0F-646B-7929-4DE4A1C728D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1705" y="2402396"/>
            <a:ext cx="1114445" cy="111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041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E82A1ED-6C1F-ED76-C918-17AA2C5EA6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8137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E82A1ED-6C1F-ED76-C918-17AA2C5EA6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58285E-5EC2-2CD3-0C61-753AC43554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5280F1-B06F-39B0-9986-25741EF9691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1F2FF02-5183-795E-FCDE-04FD31EF34C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3AF091FE-0F26-1125-1B33-40D44D0689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D76758C0-4C81-480C-899E-5EBC05712B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/02/202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AE494DF6-9D9B-ECEE-992B-7B5B7B91CE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7D59F2B-00A7-8239-D5A0-65746C10DB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B4883C01-AAC5-4300-9B1D-B25CF93DA96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B2F494D-A81C-229A-0C02-3585EC6380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9652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368F3EBA-DAA8-103D-408A-236FBEE035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61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368F3EBA-DAA8-103D-408A-236FBEE035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84CC83-6791-BAC1-76C1-6829BF3D4C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7EB800-E56E-1088-FF00-5938A37DB57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28CDA-C001-308D-C4EA-B65BE72DC88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FE74C9-DC45-7B4B-A1B4-A14487B52FB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912440-EC9C-B359-7443-9BAB9BAADAD2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02EF75E6-3A13-33F7-D386-D4B80523C0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D76758C0-4C81-480C-899E-5EBC05712B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/02/202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85FB219-802E-9A2D-0D5C-864B19249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AC8A351-D033-0FB4-A1C3-209533F693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B4883C01-AAC5-4300-9B1D-B25CF93DA96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D83F1E0-E381-284F-01CC-BF917D36FDE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3892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019F899-901B-47CE-5A63-95196EAE8B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2612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019F899-901B-47CE-5A63-95196EAE8B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1E3DB2-5A57-B29C-FE18-A83850AD87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8666AD9-A37F-DE2F-7F1E-0EB0893D19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D76758C0-4C81-480C-899E-5EBC05712B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/02/202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A8B2ECA9-8A4C-1514-2587-91B7BBC89D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3593E4C-1ECD-E695-CEAA-CF8F159481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B4883C01-AAC5-4300-9B1D-B25CF93DA96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226DB4E-65B9-082D-6663-ACB0A4B87D2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055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7C1E781-A1D2-B76F-9151-F37EC358F7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6901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BE5B746-0E71-8E30-C8DB-C535E9A1BB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65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BE5B746-0E71-8E30-C8DB-C535E9A1BB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456E62E-F751-14B7-2C37-67F3A3C743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D76758C0-4C81-480C-899E-5EBC05712B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/02/202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8377BB4-163F-2180-9F4E-C33BDF7B8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057C5F15-2C08-3B87-DCC4-ADF7B1B62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B4883C01-AAC5-4300-9B1D-B25CF93DA96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489C06F-7B34-FA6F-FA5C-EEEA4CA2CCA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  <p:sp>
        <p:nvSpPr>
          <p:cNvPr id="4" name="Titel 4">
            <a:extLst>
              <a:ext uri="{FF2B5EF4-FFF2-40B4-BE49-F238E27FC236}">
                <a16:creationId xmlns:a16="http://schemas.microsoft.com/office/drawing/2014/main" id="{3F7353AD-8337-DF4A-15A0-D1EEA8BEB41F}"/>
              </a:ext>
            </a:extLst>
          </p:cNvPr>
          <p:cNvSpPr txBox="1">
            <a:spLocks/>
          </p:cNvSpPr>
          <p:nvPr userDrawn="1"/>
        </p:nvSpPr>
        <p:spPr>
          <a:xfrm>
            <a:off x="464766" y="484101"/>
            <a:ext cx="10687049" cy="64633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altLang="de-DE" sz="2800"/>
              <a:t>D</a:t>
            </a:r>
            <a:endParaRPr lang="de-DE" sz="2800"/>
          </a:p>
        </p:txBody>
      </p:sp>
    </p:spTree>
    <p:extLst>
      <p:ext uri="{BB962C8B-B14F-4D97-AF65-F5344CB8AC3E}">
        <p14:creationId xmlns:p14="http://schemas.microsoft.com/office/powerpoint/2010/main" val="787469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A0CE17E-51A2-3E6B-98CC-74BC1D5598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087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A0CE17E-51A2-3E6B-98CC-74BC1D5598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F64C6A1A-0F55-B21D-250E-670B1CF9EB3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23808B3-DCAB-2BA0-2A1F-F84C53DFA6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298711F2-B640-18AC-E364-0D3983E3BF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D76758C0-4C81-480C-899E-5EBC05712B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/02/202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80E3A0AC-3BC2-12D0-DC8A-FAFEAAC60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F877E70-4E3F-1586-9770-34671F8CC7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B4883C01-AAC5-4300-9B1D-B25CF93DA96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2630A2D2-4403-1BAD-F5A1-B768D9037BF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5860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EE94143-13F5-BCB6-BF88-C5CA5D78F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5634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EE94143-13F5-BCB6-BF88-C5CA5D78FC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342B395-7654-F9E1-2E5A-24F2631169E2}"/>
              </a:ext>
            </a:extLst>
          </p:cNvPr>
          <p:cNvCxnSpPr>
            <a:cxnSpLocks/>
          </p:cNvCxnSpPr>
          <p:nvPr userDrawn="1"/>
        </p:nvCxnSpPr>
        <p:spPr>
          <a:xfrm>
            <a:off x="2264228" y="1071987"/>
            <a:ext cx="0" cy="4312813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93DE00EE-7E23-8B63-62C7-60F1E61F2816}"/>
              </a:ext>
            </a:extLst>
          </p:cNvPr>
          <p:cNvSpPr/>
          <p:nvPr userDrawn="1"/>
        </p:nvSpPr>
        <p:spPr>
          <a:xfrm>
            <a:off x="661951" y="2011399"/>
            <a:ext cx="1313793" cy="218615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 Light"/>
              <a:ea typeface="+mn-ea"/>
              <a:cs typeface="+mn-cs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2BD691F-208C-373A-8411-6BEE682F10D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622" y="2120206"/>
            <a:ext cx="1114445" cy="111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9809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ke_oder_end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7912F2A-E177-F9F9-9FA7-7CA3C9302E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6438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7912F2A-E177-F9F9-9FA7-7CA3C9302E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3BEB47-7278-7790-1500-F262111C47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B4883C01-AAC5-4300-9B1D-B25CF93DA96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Poppins Light"/>
              </a:rPr>
              <a:pPr>
                <a:defRPr/>
              </a:pPr>
              <a:t>‹Nr.›</a:t>
            </a:fld>
            <a:endParaRPr lang="en-GB">
              <a:solidFill>
                <a:prstClr val="black">
                  <a:tint val="75000"/>
                </a:prstClr>
              </a:solidFill>
              <a:latin typeface="Poppins Light"/>
            </a:endParaRPr>
          </a:p>
        </p:txBody>
      </p:sp>
      <p:pic>
        <p:nvPicPr>
          <p:cNvPr id="3" name="Grafik 2" descr="Ein Bild, das Text, drinnen, silbern enthält.&#10;&#10;Automatisch generierte Beschreibung">
            <a:extLst>
              <a:ext uri="{FF2B5EF4-FFF2-40B4-BE49-F238E27FC236}">
                <a16:creationId xmlns:a16="http://schemas.microsoft.com/office/drawing/2014/main" id="{F2A7C317-AD22-A72D-1D4E-3AC392441D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62632" y="0"/>
            <a:ext cx="8129368" cy="6858000"/>
          </a:xfrm>
          <a:custGeom>
            <a:avLst/>
            <a:gdLst/>
            <a:ahLst/>
            <a:cxnLst/>
            <a:rect l="l" t="t" r="r" b="b"/>
            <a:pathLst>
              <a:path w="8129366" h="6858000">
                <a:moveTo>
                  <a:pt x="1619628" y="0"/>
                </a:moveTo>
                <a:lnTo>
                  <a:pt x="4520115" y="0"/>
                </a:lnTo>
                <a:lnTo>
                  <a:pt x="6067239" y="0"/>
                </a:lnTo>
                <a:lnTo>
                  <a:pt x="8129366" y="0"/>
                </a:lnTo>
                <a:lnTo>
                  <a:pt x="8129366" y="6858000"/>
                </a:lnTo>
                <a:lnTo>
                  <a:pt x="6067239" y="6858000"/>
                </a:lnTo>
                <a:lnTo>
                  <a:pt x="4520115" y="6858000"/>
                </a:lnTo>
                <a:lnTo>
                  <a:pt x="1619627" y="6858000"/>
                </a:lnTo>
                <a:lnTo>
                  <a:pt x="1615622" y="6854853"/>
                </a:lnTo>
                <a:cubicBezTo>
                  <a:pt x="628921" y="6040555"/>
                  <a:pt x="0" y="4808224"/>
                  <a:pt x="0" y="3429000"/>
                </a:cubicBezTo>
                <a:cubicBezTo>
                  <a:pt x="0" y="2049777"/>
                  <a:pt x="628921" y="817446"/>
                  <a:pt x="1615622" y="3148"/>
                </a:cubicBezTo>
                <a:close/>
              </a:path>
            </a:pathLst>
          </a:custGeom>
        </p:spPr>
      </p:pic>
      <p:sp>
        <p:nvSpPr>
          <p:cNvPr id="10" name="TextBox 18">
            <a:extLst>
              <a:ext uri="{FF2B5EF4-FFF2-40B4-BE49-F238E27FC236}">
                <a16:creationId xmlns:a16="http://schemas.microsoft.com/office/drawing/2014/main" id="{D2CBD72A-839D-CB8D-A642-C800320C0D2E}"/>
              </a:ext>
            </a:extLst>
          </p:cNvPr>
          <p:cNvSpPr txBox="1"/>
          <p:nvPr/>
        </p:nvSpPr>
        <p:spPr>
          <a:xfrm>
            <a:off x="1027157" y="5960256"/>
            <a:ext cx="27412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GB" sz="2400">
                <a:latin typeface="+mj-lt"/>
              </a:rPr>
              <a:t>IFOHRA GmbH </a:t>
            </a:r>
          </a:p>
        </p:txBody>
      </p:sp>
      <p:sp>
        <p:nvSpPr>
          <p:cNvPr id="12" name="TextBox 17">
            <a:extLst>
              <a:ext uri="{FF2B5EF4-FFF2-40B4-BE49-F238E27FC236}">
                <a16:creationId xmlns:a16="http://schemas.microsoft.com/office/drawing/2014/main" id="{4B3FA7A7-C05F-2B8A-DCAE-8E5544BD1946}"/>
              </a:ext>
            </a:extLst>
          </p:cNvPr>
          <p:cNvSpPr txBox="1"/>
          <p:nvPr userDrawn="1"/>
        </p:nvSpPr>
        <p:spPr>
          <a:xfrm>
            <a:off x="225084" y="6393987"/>
            <a:ext cx="40245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GB" sz="1400"/>
              <a:t>Institute for Healthcare Robotics and Automation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8465B8EF-3E97-21F7-249D-FE3E6F3C38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811" y="5660571"/>
            <a:ext cx="695779" cy="695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7254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64D96A1-BB16-4242-FA23-32D9CC1E53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7175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64D96A1-BB16-4242-FA23-32D9CC1E53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6E154DB-2AF7-8470-A401-C10B5E123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9C289B-B010-D366-A6E5-DF436DB298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159BE0F-3D34-3F50-6017-B549AEB785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76758C0-4C81-480C-899E-5EBC05712BD4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2.202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BE54E74-3D82-1B2E-E911-082630476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C0F96B00-19B0-8BA8-FBF3-CDC8E4EE20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883C01-AAC5-4300-9B1D-B25CF93DA964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FBD0F81-BA5F-DA5A-70B1-D2A1DDAE63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  <p:sp>
        <p:nvSpPr>
          <p:cNvPr id="5" name="Fußzeilenplatzhalter 1">
            <a:extLst>
              <a:ext uri="{FF2B5EF4-FFF2-40B4-BE49-F238E27FC236}">
                <a16:creationId xmlns:a16="http://schemas.microsoft.com/office/drawing/2014/main" id="{FDAF0434-C688-D20B-21D7-06546F323724}"/>
              </a:ext>
            </a:extLst>
          </p:cNvPr>
          <p:cNvSpPr txBox="1">
            <a:spLocks/>
          </p:cNvSpPr>
          <p:nvPr userDrawn="1"/>
        </p:nvSpPr>
        <p:spPr>
          <a:xfrm>
            <a:off x="4038600" y="654517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>
                <a:solidFill>
                  <a:prstClr val="black">
                    <a:tint val="75000"/>
                  </a:prstClr>
                </a:solidFill>
              </a:rPr>
              <a:t>Copyright© IFOHRA GmbH</a:t>
            </a:r>
          </a:p>
        </p:txBody>
      </p:sp>
    </p:spTree>
    <p:extLst>
      <p:ext uri="{BB962C8B-B14F-4D97-AF65-F5344CB8AC3E}">
        <p14:creationId xmlns:p14="http://schemas.microsoft.com/office/powerpoint/2010/main" val="15142333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B759D5A-A01C-218E-9889-512ACD8223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3611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B759D5A-A01C-218E-9889-512ACD8223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762A45-EAED-151A-02B9-F93E0E5A06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vert="horz"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A7B0E9-32FE-908E-2A90-5DF068E1A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F79322C-C74B-020E-267D-45A74793DA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76758C0-4C81-480C-899E-5EBC05712BD4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2.202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9B4DAA7E-3410-FB10-403C-3D0421A89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33A2442F-C623-B83A-AD9C-63FB94E1F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883C01-AAC5-4300-9B1D-B25CF93DA964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8CD6153-86AF-8087-1012-9895829553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5101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B759D5A-A01C-218E-9889-512ACD8223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3611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B759D5A-A01C-218E-9889-512ACD8223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762A45-EAED-151A-02B9-F93E0E5A06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vert="horz"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A7B0E9-32FE-908E-2A90-5DF068E1A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F79322C-C74B-020E-267D-45A74793DA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76758C0-4C81-480C-899E-5EBC05712BD4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2.202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9B4DAA7E-3410-FB10-403C-3D0421A89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33A2442F-C623-B83A-AD9C-63FB94E1F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883C01-AAC5-4300-9B1D-B25CF93DA964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8CD6153-86AF-8087-1012-9895829553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8598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B759D5A-A01C-218E-9889-512ACD8223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3611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B759D5A-A01C-218E-9889-512ACD8223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762A45-EAED-151A-02B9-F93E0E5A06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vert="horz"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A7B0E9-32FE-908E-2A90-5DF068E1A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F79322C-C74B-020E-267D-45A74793DA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76758C0-4C81-480C-899E-5EBC05712BD4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2.202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9B4DAA7E-3410-FB10-403C-3D0421A89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33A2442F-C623-B83A-AD9C-63FB94E1F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883C01-AAC5-4300-9B1D-B25CF93DA964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8CD6153-86AF-8087-1012-9895829553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7468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E82A1ED-6C1F-ED76-C918-17AA2C5EA6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8055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E82A1ED-6C1F-ED76-C918-17AA2C5EA6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58285E-5EC2-2CD3-0C61-753AC43554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5280F1-B06F-39B0-9986-25741EF9691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1F2FF02-5183-795E-FCDE-04FD31EF34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3AF091FE-0F26-1125-1B33-40D44D0689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76758C0-4C81-480C-899E-5EBC05712BD4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2.202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AE494DF6-9D9B-ECEE-992B-7B5B7B91CE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7D59F2B-00A7-8239-D5A0-65746C10DB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883C01-AAC5-4300-9B1D-B25CF93DA964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B2F494D-A81C-229A-0C02-3585EC6380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  <p:sp>
        <p:nvSpPr>
          <p:cNvPr id="6" name="Fußzeilenplatzhalter 1">
            <a:extLst>
              <a:ext uri="{FF2B5EF4-FFF2-40B4-BE49-F238E27FC236}">
                <a16:creationId xmlns:a16="http://schemas.microsoft.com/office/drawing/2014/main" id="{6C9E6AC8-852A-442A-F8BB-2C9E5F50A903}"/>
              </a:ext>
            </a:extLst>
          </p:cNvPr>
          <p:cNvSpPr txBox="1">
            <a:spLocks/>
          </p:cNvSpPr>
          <p:nvPr userDrawn="1"/>
        </p:nvSpPr>
        <p:spPr>
          <a:xfrm>
            <a:off x="4038600" y="654517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>
                <a:solidFill>
                  <a:prstClr val="black">
                    <a:tint val="75000"/>
                  </a:prstClr>
                </a:solidFill>
              </a:rPr>
              <a:t>Copyright© IFOHRA GmbH</a:t>
            </a:r>
          </a:p>
        </p:txBody>
      </p:sp>
    </p:spTree>
    <p:extLst>
      <p:ext uri="{BB962C8B-B14F-4D97-AF65-F5344CB8AC3E}">
        <p14:creationId xmlns:p14="http://schemas.microsoft.com/office/powerpoint/2010/main" val="41564531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368F3EBA-DAA8-103D-408A-236FBEE035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5857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368F3EBA-DAA8-103D-408A-236FBEE035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84CC83-6791-BAC1-76C1-6829BF3D4C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7EB800-E56E-1088-FF00-5938A37DB5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D28CDA-C001-308D-C4EA-B65BE72DC88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FE74C9-DC45-7B4B-A1B4-A14487B52FB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912440-EC9C-B359-7443-9BAB9BAADA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02EF75E6-3A13-33F7-D386-D4B80523C0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76758C0-4C81-480C-899E-5EBC05712BD4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2.202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85FB219-802E-9A2D-0D5C-864B19249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AC8A351-D033-0FB4-A1C3-209533F693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883C01-AAC5-4300-9B1D-B25CF93DA964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D83F1E0-E381-284F-01CC-BF917D36FDE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1084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019F899-901B-47CE-5A63-95196EAE8B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600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019F899-901B-47CE-5A63-95196EAE8B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1E3DB2-5A57-B29C-FE18-A83850AD87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C8666AD9-A37F-DE2F-7F1E-0EB0893D19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76758C0-4C81-480C-899E-5EBC05712BD4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2.202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A8B2ECA9-8A4C-1514-2587-91B7BBC89D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3593E4C-1ECD-E695-CEAA-CF8F159481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883C01-AAC5-4300-9B1D-B25CF93DA964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226DB4E-65B9-082D-6663-ACB0A4B87D2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000" y="162180"/>
            <a:ext cx="720000" cy="720000"/>
          </a:xfrm>
          <a:prstGeom prst="rect">
            <a:avLst/>
          </a:prstGeom>
        </p:spPr>
      </p:pic>
      <p:sp>
        <p:nvSpPr>
          <p:cNvPr id="4" name="Fußzeilenplatzhalter 1">
            <a:extLst>
              <a:ext uri="{FF2B5EF4-FFF2-40B4-BE49-F238E27FC236}">
                <a16:creationId xmlns:a16="http://schemas.microsoft.com/office/drawing/2014/main" id="{759110CE-FC57-94E7-6052-10C00D344B6B}"/>
              </a:ext>
            </a:extLst>
          </p:cNvPr>
          <p:cNvSpPr txBox="1">
            <a:spLocks/>
          </p:cNvSpPr>
          <p:nvPr userDrawn="1"/>
        </p:nvSpPr>
        <p:spPr>
          <a:xfrm>
            <a:off x="4038600" y="654517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>
                <a:solidFill>
                  <a:prstClr val="black">
                    <a:tint val="75000"/>
                  </a:prstClr>
                </a:solidFill>
              </a:rPr>
              <a:t>Copyright© IFOHRA GmbH</a:t>
            </a:r>
          </a:p>
        </p:txBody>
      </p:sp>
    </p:spTree>
    <p:extLst>
      <p:ext uri="{BB962C8B-B14F-4D97-AF65-F5344CB8AC3E}">
        <p14:creationId xmlns:p14="http://schemas.microsoft.com/office/powerpoint/2010/main" val="1084378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oleObject" Target="../embeddings/oleObject9.bin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1945157-2C21-8300-A748-99DAACAEAE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808752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592" imgH="595" progId="TCLayout.ActiveDocument.1">
                  <p:embed/>
                </p:oleObj>
              </mc:Choice>
              <mc:Fallback>
                <p:oleObj name="think-cell Folie" r:id="rId18" imgW="592" imgH="59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1945157-2C21-8300-A748-99DAACAEAE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4823778-8DFF-E77B-CEAF-8D709F0C36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6000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A50943-B504-4991-A737-50FE465564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2274AE-DF5B-560F-36F3-21A33D08C3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D76758C0-4C81-480C-899E-5EBC05712BD4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2.202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3AEBF1-BF01-A317-2F42-7B9A7F0616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0B0E9A-A30F-49DE-67D4-CF8625C1D9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4883C01-AAC5-4300-9B1D-B25CF93DA964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5554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702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1945157-2C21-8300-A748-99DAACAEAE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95628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592" imgH="595" progId="TCLayout.ActiveDocument.1">
                  <p:embed/>
                </p:oleObj>
              </mc:Choice>
              <mc:Fallback>
                <p:oleObj name="think-cell Folie" r:id="rId15" imgW="592" imgH="59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1945157-2C21-8300-A748-99DAACAEAE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4823778-8DFF-E77B-CEAF-8D709F0C36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A50943-B504-4991-A737-50FE465564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2274AE-DF5B-560F-36F3-21A33D08C3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D76758C0-4C81-480C-899E-5EBC05712B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/02/202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3AEBF1-BF01-A317-2F42-7B9A7F0616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0B0E9A-A30F-49DE-67D4-CF8625C1D9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4883C01-AAC5-4300-9B1D-B25CF93DA96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B37CBD81-33EE-4AD3-566A-3658935730E0}"/>
              </a:ext>
            </a:extLst>
          </p:cNvPr>
          <p:cNvSpPr txBox="1">
            <a:spLocks/>
          </p:cNvSpPr>
          <p:nvPr userDrawn="1"/>
        </p:nvSpPr>
        <p:spPr>
          <a:xfrm>
            <a:off x="4038600" y="654517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>
                <a:solidFill>
                  <a:prstClr val="black">
                    <a:tint val="75000"/>
                  </a:prstClr>
                </a:solidFill>
              </a:rPr>
              <a:t>Copyright© IFOHRA GmbH</a:t>
            </a:r>
          </a:p>
        </p:txBody>
      </p:sp>
    </p:spTree>
    <p:extLst>
      <p:ext uri="{BB962C8B-B14F-4D97-AF65-F5344CB8AC3E}">
        <p14:creationId xmlns:p14="http://schemas.microsoft.com/office/powerpoint/2010/main" val="3183681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19.emf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4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20.jpeg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5.xml"/><Relationship Id="rId6" Type="http://schemas.openxmlformats.org/officeDocument/2006/relationships/image" Target="../media/image22.jpe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25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6.x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.x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8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9.xml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0.xml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23000" b="-23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4284828-F450-D1E0-1D91-DB44B9D79F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131110A-B915-1789-85F1-BBC365D414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31110A-B915-1789-85F1-BBC365D414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7A05498A-085B-15F9-CF04-7B5B879FA19B}"/>
              </a:ext>
            </a:extLst>
          </p:cNvPr>
          <p:cNvSpPr/>
          <p:nvPr/>
        </p:nvSpPr>
        <p:spPr>
          <a:xfrm>
            <a:off x="0" y="0"/>
            <a:ext cx="6817766" cy="5435600"/>
          </a:xfrm>
          <a:prstGeom prst="rect">
            <a:avLst/>
          </a:prstGeom>
          <a:solidFill>
            <a:srgbClr val="395A85"/>
          </a:solidFill>
          <a:ln>
            <a:solidFill>
              <a:srgbClr val="395A8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00" cap="none" spc="0" normalizeH="0" baseline="0" noProof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Oswald Light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</p:txBody>
      </p:sp>
      <p:pic>
        <p:nvPicPr>
          <p:cNvPr id="3" name="Grafik 2" descr="Ein Bild, das Text, Grafiken, Schrift, Grafikdesign enthält.&#10;&#10;Automatisch generierte Beschreibung">
            <a:extLst>
              <a:ext uri="{FF2B5EF4-FFF2-40B4-BE49-F238E27FC236}">
                <a16:creationId xmlns:a16="http://schemas.microsoft.com/office/drawing/2014/main" id="{453D49D9-8C60-285A-F7C2-7162A6C30F3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1996" y="0"/>
            <a:ext cx="1715770" cy="1715770"/>
          </a:xfrm>
          <a:prstGeom prst="rect">
            <a:avLst/>
          </a:prstGeom>
        </p:spPr>
      </p:pic>
      <p:sp>
        <p:nvSpPr>
          <p:cNvPr id="5" name="Textfeld 2">
            <a:extLst>
              <a:ext uri="{FF2B5EF4-FFF2-40B4-BE49-F238E27FC236}">
                <a16:creationId xmlns:a16="http://schemas.microsoft.com/office/drawing/2014/main" id="{2A08715C-C1F4-A770-DF4C-4C3FED40EF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00" y="1967421"/>
            <a:ext cx="5181600" cy="2595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Whitepaper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de-DE" sz="4000" kern="100">
                <a:solidFill>
                  <a:srgbClr val="FFFFFF"/>
                </a:solidFill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Hospital Shopfloor Management (SQCDP) </a:t>
            </a:r>
            <a:r>
              <a:rPr kumimoji="0" lang="de-DE" sz="4000" b="0" i="0" u="none" strike="noStrike" kern="1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endParaRPr lang="de-DE" sz="1100" kern="100">
              <a:solidFill>
                <a:srgbClr val="121F3D"/>
              </a:solidFill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de-DE" sz="4000" b="0" i="0" u="none" strike="noStrike" kern="1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 Display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CC8CDE7-3A10-5869-50D7-1A55B319956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4354534"/>
            <a:ext cx="698500" cy="13493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948832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5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2BA6E12-73D5-CED7-B697-25BF4A39FB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1576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BA6E12-73D5-CED7-B697-25BF4A39FB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feld 2">
            <a:extLst>
              <a:ext uri="{FF2B5EF4-FFF2-40B4-BE49-F238E27FC236}">
                <a16:creationId xmlns:a16="http://schemas.microsoft.com/office/drawing/2014/main" id="{84BF6C95-3DA6-59AF-E4E6-94AC939847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56554" y="1657554"/>
            <a:ext cx="5799049" cy="407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defRPr/>
            </a:pPr>
            <a:r>
              <a:rPr kumimoji="0" lang="de-DE" sz="1600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Aptos Display"/>
                <a:ea typeface="Aptos" panose="020B0004020202020204" pitchFamily="34" charset="0"/>
                <a:cs typeface="Arial"/>
              </a:rPr>
              <a:t>Nicht alles muss </a:t>
            </a:r>
            <a:r>
              <a:rPr lang="de-DE" sz="1600" kern="100" dirty="0">
                <a:latin typeface="Aptos Display"/>
                <a:ea typeface="Aptos" panose="020B0004020202020204" pitchFamily="34" charset="0"/>
                <a:cs typeface="Arial"/>
              </a:rPr>
              <a:t>neu konzipiert</a:t>
            </a:r>
            <a:r>
              <a:rPr kumimoji="0" lang="de-DE" sz="1600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Aptos Display"/>
                <a:ea typeface="Aptos" panose="020B0004020202020204" pitchFamily="34" charset="0"/>
                <a:cs typeface="Arial"/>
              </a:rPr>
              <a:t> werd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kern="100" dirty="0">
                <a:effectLst/>
                <a:latin typeface="Aptos Display"/>
                <a:ea typeface="Aptos" panose="020B0004020202020204" pitchFamily="34" charset="0"/>
                <a:cs typeface="Arial"/>
              </a:rPr>
              <a:t>Durch den </a:t>
            </a:r>
            <a:r>
              <a:rPr lang="de-DE" sz="1600" b="1" kern="100" dirty="0">
                <a:effectLst/>
                <a:latin typeface="Aptos Display"/>
                <a:ea typeface="Aptos" panose="020B0004020202020204" pitchFamily="34" charset="0"/>
                <a:cs typeface="Arial"/>
              </a:rPr>
              <a:t>Shopfloor Management (SFM) Ansatz</a:t>
            </a:r>
            <a:r>
              <a:rPr lang="de-DE" sz="1600" kern="100" dirty="0">
                <a:effectLst/>
                <a:latin typeface="Aptos Display"/>
                <a:ea typeface="Aptos" panose="020B0004020202020204" pitchFamily="34" charset="0"/>
                <a:cs typeface="Arial"/>
              </a:rPr>
              <a:t> werden in der Industrie </a:t>
            </a:r>
            <a:r>
              <a:rPr lang="de-DE" sz="1600" b="1" kern="100" dirty="0">
                <a:effectLst/>
                <a:latin typeface="Aptos Display"/>
                <a:ea typeface="Aptos" panose="020B0004020202020204" pitchFamily="34" charset="0"/>
                <a:cs typeface="Arial"/>
              </a:rPr>
              <a:t>Prozesse effizienter</a:t>
            </a:r>
            <a:r>
              <a:rPr lang="de-DE" sz="1600" kern="100" dirty="0">
                <a:effectLst/>
                <a:latin typeface="Aptos Display"/>
                <a:ea typeface="Aptos" panose="020B0004020202020204" pitchFamily="34" charset="0"/>
                <a:cs typeface="Arial"/>
              </a:rPr>
              <a:t> gestaltet, </a:t>
            </a:r>
            <a:r>
              <a:rPr lang="de-DE" sz="1600" b="1" kern="100" dirty="0">
                <a:effectLst/>
                <a:latin typeface="Aptos Display"/>
                <a:ea typeface="Aptos" panose="020B0004020202020204" pitchFamily="34" charset="0"/>
                <a:cs typeface="Arial"/>
              </a:rPr>
              <a:t>Probleme strukturiert </a:t>
            </a:r>
            <a:r>
              <a:rPr lang="de-DE" sz="1600" kern="100" dirty="0">
                <a:effectLst/>
                <a:latin typeface="Aptos Display"/>
                <a:ea typeface="Aptos" panose="020B0004020202020204" pitchFamily="34" charset="0"/>
                <a:cs typeface="Arial"/>
              </a:rPr>
              <a:t>und </a:t>
            </a:r>
            <a:r>
              <a:rPr lang="de-DE" sz="1600" b="1" kern="100" dirty="0">
                <a:effectLst/>
                <a:latin typeface="Aptos Display"/>
                <a:ea typeface="Aptos" panose="020B0004020202020204" pitchFamily="34" charset="0"/>
                <a:cs typeface="Arial"/>
              </a:rPr>
              <a:t>nachhaltig gelöst</a:t>
            </a:r>
            <a:r>
              <a:rPr lang="de-DE" sz="1600" kern="100" dirty="0">
                <a:effectLst/>
                <a:latin typeface="Aptos Display"/>
                <a:ea typeface="Aptos" panose="020B0004020202020204" pitchFamily="34" charset="0"/>
                <a:cs typeface="Arial"/>
              </a:rPr>
              <a:t>, um weiterhin Schritt halten zu können mit der enormen Veränderungsgeschwindigkeit.</a:t>
            </a:r>
          </a:p>
          <a:p>
            <a:r>
              <a:rPr lang="de-DE" sz="1600" dirty="0">
                <a:effectLst/>
                <a:latin typeface="Aptos Display"/>
                <a:ea typeface="Aptos" panose="020B0004020202020204" pitchFamily="34" charset="0"/>
              </a:rPr>
              <a:t>Dies ist nur durch ein fortschrittliches, funktionierendes und vernetztes Team möglich, welchem die Methoden und Mittel zur Selbstgestaltung bereitgestellt werden, um Handlungsspielräume zu erkennen und Potenziale zu entfalten. </a:t>
            </a:r>
          </a:p>
          <a:p>
            <a:endParaRPr lang="de-DE" sz="1600" dirty="0">
              <a:latin typeface="Aptos Display" panose="020B0004020202020204" pitchFamily="34" charset="0"/>
              <a:ea typeface="Aptos" panose="020B0004020202020204" pitchFamily="34" charset="0"/>
            </a:endParaRPr>
          </a:p>
          <a:p>
            <a:r>
              <a:rPr lang="de-DE" sz="1600" dirty="0">
                <a:effectLst/>
                <a:latin typeface="Aptos Display"/>
                <a:ea typeface="Aptos" panose="020B0004020202020204" pitchFamily="34" charset="0"/>
              </a:rPr>
              <a:t>Die digitale Prozess-Visualisierung eines SQCDP-Boards schafft neue Transparenz und kombiniert diese mit einer integrierten Kommunikationsstrategie.</a:t>
            </a:r>
            <a:endParaRPr kumimoji="0" lang="de-DE" sz="1600" i="0" u="none" strike="noStrike" kern="100" cap="none" spc="0" normalizeH="0" baseline="0" noProof="0" dirty="0">
              <a:ln>
                <a:noFill/>
              </a:ln>
              <a:effectLst/>
              <a:uLnTx/>
              <a:uFillTx/>
              <a:latin typeface="Aptos Display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EAFA44A-0B11-A861-C2A0-FD168516BD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56554" y="898109"/>
            <a:ext cx="6431915" cy="330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de-DE" sz="2000" b="1" kern="100" dirty="0">
                <a:solidFill>
                  <a:srgbClr val="395A85"/>
                </a:solidFill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SQCDP: Hospital Shopfloor Management</a:t>
            </a:r>
            <a:endParaRPr kumimoji="0" lang="de-DE" sz="2000" b="1" i="0" u="none" strike="noStrike" kern="100" cap="none" spc="0" normalizeH="0" baseline="0" noProof="0" dirty="0">
              <a:ln>
                <a:noFill/>
              </a:ln>
              <a:solidFill>
                <a:srgbClr val="395A85"/>
              </a:solidFill>
              <a:effectLst/>
              <a:uLnTx/>
              <a:uFillTx/>
              <a:latin typeface="Aptos Display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EE4D399A-FB2E-393A-362A-8AD04DEDDADE}"/>
              </a:ext>
            </a:extLst>
          </p:cNvPr>
          <p:cNvCxnSpPr/>
          <p:nvPr/>
        </p:nvCxnSpPr>
        <p:spPr>
          <a:xfrm flipV="1">
            <a:off x="5536776" y="1440822"/>
            <a:ext cx="5929630" cy="9525"/>
          </a:xfrm>
          <a:prstGeom prst="line">
            <a:avLst/>
          </a:prstGeom>
          <a:ln w="57150">
            <a:solidFill>
              <a:srgbClr val="395A85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7" name="Grafik 16" descr="Gesundheitswesenmitarbeiter mit Tablet">
            <a:extLst>
              <a:ext uri="{FF2B5EF4-FFF2-40B4-BE49-F238E27FC236}">
                <a16:creationId xmlns:a16="http://schemas.microsoft.com/office/drawing/2014/main" id="{34DB24E0-FC53-6BC7-BA56-2C34493377D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594" y="619911"/>
            <a:ext cx="4469626" cy="2809089"/>
          </a:xfrm>
          <a:prstGeom prst="ellipse">
            <a:avLst/>
          </a:prstGeom>
        </p:spPr>
      </p:pic>
      <p:pic>
        <p:nvPicPr>
          <p:cNvPr id="24" name="Grafik 23" descr="Ein Bild, das Decke, Haltevorrichtung, Im Haus, Fenster enthält.&#10;&#10;Automatisch generierte Beschreibung">
            <a:extLst>
              <a:ext uri="{FF2B5EF4-FFF2-40B4-BE49-F238E27FC236}">
                <a16:creationId xmlns:a16="http://schemas.microsoft.com/office/drawing/2014/main" id="{2BF147AB-8E87-6739-BAC1-0D5F56CDEEF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67" t="15792" r="22522" b="23820"/>
          <a:stretch/>
        </p:blipFill>
        <p:spPr>
          <a:xfrm>
            <a:off x="464259" y="2945635"/>
            <a:ext cx="2337108" cy="1316621"/>
          </a:xfrm>
          <a:prstGeom prst="ellipse">
            <a:avLst/>
          </a:prstGeom>
        </p:spPr>
      </p:pic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47B1A5B-9642-7C9E-6F1D-95680C2E7299}"/>
              </a:ext>
            </a:extLst>
          </p:cNvPr>
          <p:cNvGrpSpPr/>
          <p:nvPr/>
        </p:nvGrpSpPr>
        <p:grpSpPr>
          <a:xfrm>
            <a:off x="725594" y="3973468"/>
            <a:ext cx="4292601" cy="2114065"/>
            <a:chOff x="838199" y="3981935"/>
            <a:chExt cx="4292601" cy="2114065"/>
          </a:xfrm>
        </p:grpSpPr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0B2E2D3D-D22A-72C5-804B-A51233A823C9}"/>
                </a:ext>
              </a:extLst>
            </p:cNvPr>
            <p:cNvGrpSpPr/>
            <p:nvPr/>
          </p:nvGrpSpPr>
          <p:grpSpPr>
            <a:xfrm rot="10800000">
              <a:off x="3707008" y="4493758"/>
              <a:ext cx="1085217" cy="603404"/>
              <a:chOff x="1555533" y="-2294769"/>
              <a:chExt cx="1085217" cy="603404"/>
            </a:xfrm>
            <a:solidFill>
              <a:srgbClr val="FFFFFF"/>
            </a:solidFill>
          </p:grpSpPr>
          <p:sp>
            <p:nvSpPr>
              <p:cNvPr id="12" name="Halbbogen 11">
                <a:extLst>
                  <a:ext uri="{FF2B5EF4-FFF2-40B4-BE49-F238E27FC236}">
                    <a16:creationId xmlns:a16="http://schemas.microsoft.com/office/drawing/2014/main" id="{EB6BE9BD-9D29-55ED-F17A-7B8AA5F78324}"/>
                  </a:ext>
                </a:extLst>
              </p:cNvPr>
              <p:cNvSpPr/>
              <p:nvPr/>
            </p:nvSpPr>
            <p:spPr>
              <a:xfrm rot="16200000">
                <a:off x="2033802" y="-2300624"/>
                <a:ext cx="601094" cy="612803"/>
              </a:xfrm>
              <a:prstGeom prst="blockArc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3" name="Halbbogen 12">
                <a:extLst>
                  <a:ext uri="{FF2B5EF4-FFF2-40B4-BE49-F238E27FC236}">
                    <a16:creationId xmlns:a16="http://schemas.microsoft.com/office/drawing/2014/main" id="{1F51021B-BB27-7658-A608-DFFAC0CB1EDB}"/>
                  </a:ext>
                </a:extLst>
              </p:cNvPr>
              <p:cNvSpPr/>
              <p:nvPr/>
            </p:nvSpPr>
            <p:spPr>
              <a:xfrm rot="5400000" flipH="1">
                <a:off x="1561388" y="-2298311"/>
                <a:ext cx="601091" cy="612802"/>
              </a:xfrm>
              <a:prstGeom prst="blockArc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8" name="Rechteck: abgerundete Ecken 7">
              <a:extLst>
                <a:ext uri="{FF2B5EF4-FFF2-40B4-BE49-F238E27FC236}">
                  <a16:creationId xmlns:a16="http://schemas.microsoft.com/office/drawing/2014/main" id="{4F36AD24-35BB-4F79-8BD1-2958CD0846D6}"/>
                </a:ext>
              </a:extLst>
            </p:cNvPr>
            <p:cNvSpPr/>
            <p:nvPr/>
          </p:nvSpPr>
          <p:spPr>
            <a:xfrm>
              <a:off x="3885228" y="3981935"/>
              <a:ext cx="713298" cy="666677"/>
            </a:xfrm>
            <a:prstGeom prst="roundRect">
              <a:avLst>
                <a:gd name="adj" fmla="val 22982"/>
              </a:avLst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endParaRPr lang="de-DE" sz="1400" kern="100">
                <a:solidFill>
                  <a:schemeClr val="tx1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B0D48748-A0CF-31B6-DAF2-A583E093B9B9}"/>
                </a:ext>
              </a:extLst>
            </p:cNvPr>
            <p:cNvSpPr/>
            <p:nvPr/>
          </p:nvSpPr>
          <p:spPr>
            <a:xfrm>
              <a:off x="838199" y="4945629"/>
              <a:ext cx="4292601" cy="1150371"/>
            </a:xfrm>
            <a:prstGeom prst="roundRect">
              <a:avLst>
                <a:gd name="adj" fmla="val 19687"/>
              </a:avLst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endParaRPr lang="de-DE" sz="1400" kern="100">
                <a:solidFill>
                  <a:schemeClr val="tx1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A94ED2D0-AFC2-3310-EFFF-36B0A8D2FB1B}"/>
                </a:ext>
              </a:extLst>
            </p:cNvPr>
            <p:cNvSpPr txBox="1"/>
            <p:nvPr/>
          </p:nvSpPr>
          <p:spPr>
            <a:xfrm>
              <a:off x="916623" y="5102941"/>
              <a:ext cx="4154910" cy="87376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600" kern="100" dirty="0">
                  <a:latin typeface="Aptos Display" panose="020B0004020202020204" pitchFamily="34" charset="0"/>
                  <a:ea typeface="Aptos" panose="020B0004020202020204" pitchFamily="34" charset="0"/>
                  <a:cs typeface="Arial" panose="020B0604020202020204" pitchFamily="34" charset="0"/>
                </a:rPr>
                <a:t>Kliniken wie Johns Hopkins haben sehr gute und nachhaltige Erfolge mit der Einführung von Lean Management Methoden realisieren können. </a:t>
              </a:r>
              <a:endParaRPr kumimoji="0" lang="de-DE" sz="1600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11" name="Grafik 10" descr="Informationen Silhouette">
              <a:extLst>
                <a:ext uri="{FF2B5EF4-FFF2-40B4-BE49-F238E27FC236}">
                  <a16:creationId xmlns:a16="http://schemas.microsoft.com/office/drawing/2014/main" id="{2AD0DFD9-9284-FBFD-F543-EB656A45F78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941329" y="4014725"/>
              <a:ext cx="601095" cy="60109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927090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94AEB39-BF2E-DF7C-7BB4-5E387F019C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DA8DDC8-75E2-1C48-0146-287621F8BD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A8DDC8-75E2-1C48-0146-287621F8BD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C9476F3-E441-F1BE-4D31-2F5B6EA898CA}"/>
              </a:ext>
            </a:extLst>
          </p:cNvPr>
          <p:cNvGrpSpPr/>
          <p:nvPr/>
        </p:nvGrpSpPr>
        <p:grpSpPr>
          <a:xfrm rot="10800000">
            <a:off x="322729" y="1276421"/>
            <a:ext cx="2357851" cy="1135248"/>
            <a:chOff x="-454781" y="454781"/>
            <a:chExt cx="1908784" cy="999218"/>
          </a:xfrm>
          <a:solidFill>
            <a:srgbClr val="FFFFFF"/>
          </a:solidFill>
        </p:grpSpPr>
        <p:sp>
          <p:nvSpPr>
            <p:cNvPr id="3" name="Halbbogen 2">
              <a:extLst>
                <a:ext uri="{FF2B5EF4-FFF2-40B4-BE49-F238E27FC236}">
                  <a16:creationId xmlns:a16="http://schemas.microsoft.com/office/drawing/2014/main" id="{A5CE291C-6D6F-4253-DF59-99398ADB5DF2}"/>
                </a:ext>
              </a:extLst>
            </p:cNvPr>
            <p:cNvSpPr/>
            <p:nvPr/>
          </p:nvSpPr>
          <p:spPr>
            <a:xfrm rot="5400000">
              <a:off x="-445833" y="445833"/>
              <a:ext cx="995102" cy="1012997"/>
            </a:xfrm>
            <a:prstGeom prst="blockArc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/>
            </a:p>
          </p:txBody>
        </p:sp>
        <p:sp>
          <p:nvSpPr>
            <p:cNvPr id="5" name="Halbbogen 4">
              <a:extLst>
                <a:ext uri="{FF2B5EF4-FFF2-40B4-BE49-F238E27FC236}">
                  <a16:creationId xmlns:a16="http://schemas.microsoft.com/office/drawing/2014/main" id="{31FEE33C-EF63-7417-AB74-4AF5D674A991}"/>
                </a:ext>
              </a:extLst>
            </p:cNvPr>
            <p:cNvSpPr/>
            <p:nvPr/>
          </p:nvSpPr>
          <p:spPr>
            <a:xfrm rot="16200000" flipH="1">
              <a:off x="449954" y="449949"/>
              <a:ext cx="995102" cy="1012997"/>
            </a:xfrm>
            <a:prstGeom prst="blockArc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6" name="Textfeld 2">
            <a:extLst>
              <a:ext uri="{FF2B5EF4-FFF2-40B4-BE49-F238E27FC236}">
                <a16:creationId xmlns:a16="http://schemas.microsoft.com/office/drawing/2014/main" id="{3D3F30A0-0AE1-E2EB-C5D7-EA9B654632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78153" y="2143750"/>
            <a:ext cx="5077297" cy="303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spcAft>
                <a:spcPts val="800"/>
              </a:spcAft>
            </a:pPr>
            <a:r>
              <a:rPr lang="de-DE" sz="1600" b="1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SQCDP</a:t>
            </a:r>
            <a:r>
              <a:rPr lang="de-DE" sz="1600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steht für 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1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Sicherheit</a:t>
            </a:r>
            <a:r>
              <a:rPr lang="de-DE" sz="1600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(</a:t>
            </a:r>
            <a:r>
              <a:rPr lang="de-DE" sz="1600" kern="100" dirty="0" err="1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Safety</a:t>
            </a:r>
            <a:r>
              <a:rPr lang="de-DE" sz="1600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), 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1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Qualität</a:t>
            </a:r>
            <a:r>
              <a:rPr lang="de-DE" sz="1600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(Quality), 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1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Kosten</a:t>
            </a:r>
            <a:r>
              <a:rPr lang="de-DE" sz="1600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(Costs), 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1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Lieferung</a:t>
            </a:r>
            <a:r>
              <a:rPr lang="de-DE" sz="1600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(</a:t>
            </a:r>
            <a:r>
              <a:rPr lang="de-DE" sz="1600" kern="100" dirty="0" err="1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elivery</a:t>
            </a:r>
            <a:r>
              <a:rPr lang="de-DE" sz="1600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) </a:t>
            </a:r>
            <a:r>
              <a:rPr lang="de-DE" sz="1600" kern="100" dirty="0"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&amp;</a:t>
            </a:r>
            <a:endParaRPr lang="de-DE" sz="1600" kern="100" dirty="0">
              <a:effectLst/>
              <a:latin typeface="Aptos Display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600" b="1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ersonen</a:t>
            </a:r>
            <a:r>
              <a:rPr lang="de-DE" sz="1600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(People)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und adressiert somit die wesentlichen Elemente zur Steuerung einer Abteilung bzw. eines Krankenhauses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kern="100" dirty="0">
              <a:effectLst/>
              <a:latin typeface="Aptos Display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DDD8A70C-08D1-E386-DC0E-053D783FBCA6}"/>
              </a:ext>
            </a:extLst>
          </p:cNvPr>
          <p:cNvSpPr/>
          <p:nvPr/>
        </p:nvSpPr>
        <p:spPr>
          <a:xfrm>
            <a:off x="322729" y="2118586"/>
            <a:ext cx="6149789" cy="3596413"/>
          </a:xfrm>
          <a:prstGeom prst="roundRect">
            <a:avLst>
              <a:gd name="adj" fmla="val 20246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de-DE" sz="1200" kern="100">
              <a:solidFill>
                <a:schemeClr val="tx1"/>
              </a:solidFill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7E08D9B4-B033-1850-C8B2-1CE8640C1021}"/>
              </a:ext>
            </a:extLst>
          </p:cNvPr>
          <p:cNvSpPr/>
          <p:nvPr/>
        </p:nvSpPr>
        <p:spPr>
          <a:xfrm>
            <a:off x="322729" y="716890"/>
            <a:ext cx="7497220" cy="855483"/>
          </a:xfrm>
          <a:prstGeom prst="roundRect">
            <a:avLst>
              <a:gd name="adj" fmla="val 40987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de-DE" sz="2000" b="1" kern="100" dirty="0">
                <a:solidFill>
                  <a:schemeClr val="tx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QCDP erklärt: Der Schlüssel zur Optimierung und Effizienz </a:t>
            </a:r>
            <a:endParaRPr lang="de-DE" sz="1600" kern="100" dirty="0">
              <a:solidFill>
                <a:schemeClr val="tx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" name="Grafik 8" descr="Ein Bild, das Screenshot, Schrift, Text, Logo enthält.&#10;&#10;Automatisch generierte Beschreibung">
            <a:extLst>
              <a:ext uri="{FF2B5EF4-FFF2-40B4-BE49-F238E27FC236}">
                <a16:creationId xmlns:a16="http://schemas.microsoft.com/office/drawing/2014/main" id="{FB2DCA34-B286-456E-13F2-A81B2C5B95D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2906" y="1831923"/>
            <a:ext cx="7223785" cy="3994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5659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23000" b="-23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A880AE6-7344-00A9-5B9E-82E00A5812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EA6DDB6-ED26-1855-C834-CCB050436A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145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A6DDB6-ED26-1855-C834-CCB050436A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B2AAAAF0-754C-6D42-DAB4-198C4FDA1C20}"/>
              </a:ext>
            </a:extLst>
          </p:cNvPr>
          <p:cNvGrpSpPr/>
          <p:nvPr/>
        </p:nvGrpSpPr>
        <p:grpSpPr>
          <a:xfrm rot="10800000">
            <a:off x="6170156" y="1423942"/>
            <a:ext cx="2357851" cy="1135248"/>
            <a:chOff x="-454781" y="454781"/>
            <a:chExt cx="1908784" cy="999218"/>
          </a:xfrm>
          <a:solidFill>
            <a:srgbClr val="FFFFFF"/>
          </a:solidFill>
        </p:grpSpPr>
        <p:sp>
          <p:nvSpPr>
            <p:cNvPr id="6" name="Halbbogen 5">
              <a:extLst>
                <a:ext uri="{FF2B5EF4-FFF2-40B4-BE49-F238E27FC236}">
                  <a16:creationId xmlns:a16="http://schemas.microsoft.com/office/drawing/2014/main" id="{1A650CA4-B6C2-2F11-A14D-6C1340103A64}"/>
                </a:ext>
              </a:extLst>
            </p:cNvPr>
            <p:cNvSpPr/>
            <p:nvPr/>
          </p:nvSpPr>
          <p:spPr>
            <a:xfrm rot="5400000">
              <a:off x="-445833" y="445833"/>
              <a:ext cx="995102" cy="1012997"/>
            </a:xfrm>
            <a:prstGeom prst="blockArc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/>
            </a:p>
          </p:txBody>
        </p:sp>
        <p:sp>
          <p:nvSpPr>
            <p:cNvPr id="8" name="Halbbogen 7">
              <a:extLst>
                <a:ext uri="{FF2B5EF4-FFF2-40B4-BE49-F238E27FC236}">
                  <a16:creationId xmlns:a16="http://schemas.microsoft.com/office/drawing/2014/main" id="{4A7CBB9D-8761-C357-7FB9-AD761FF5EC27}"/>
                </a:ext>
              </a:extLst>
            </p:cNvPr>
            <p:cNvSpPr/>
            <p:nvPr/>
          </p:nvSpPr>
          <p:spPr>
            <a:xfrm rot="16200000" flipH="1">
              <a:off x="449954" y="449949"/>
              <a:ext cx="995102" cy="1012997"/>
            </a:xfrm>
            <a:prstGeom prst="blockArc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" name="Textfeld 2">
            <a:extLst>
              <a:ext uri="{FF2B5EF4-FFF2-40B4-BE49-F238E27FC236}">
                <a16:creationId xmlns:a16="http://schemas.microsoft.com/office/drawing/2014/main" id="{43E10147-1959-E91B-AF11-73F9CE1096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3867" y="2462082"/>
            <a:ext cx="5449703" cy="3555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as SQCDP Board visualisiert einen Bereich der Klinik, gepflegt durch das Abteilungsteam – auf täglicher Basis, mit ca. 15 Minuten Zeitaufwand. Durch die systematische und softwaregestützte Durchführung werden </a:t>
            </a:r>
            <a:r>
              <a:rPr lang="de-DE" sz="1600" b="1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relevante Kennzahlen (KPIs) erfasst </a:t>
            </a:r>
            <a:r>
              <a:rPr lang="de-DE" sz="1600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und </a:t>
            </a:r>
            <a:r>
              <a:rPr lang="de-DE" sz="1600" b="1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Maßnahmen zur Optimierung abgeleitet   </a:t>
            </a:r>
            <a:r>
              <a:rPr lang="de-DE" sz="1600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(z. B. 20 Prozent weniger Laufwege des Pflegepersonals)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600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Bei einer prozessual und organisatorisch integrierten Anwendung gewinnt die Klinikleitung auf täglicher Basis </a:t>
            </a:r>
            <a:r>
              <a:rPr lang="de-DE" sz="1600" b="1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Transparenz auf allen Ebenen </a:t>
            </a:r>
            <a:r>
              <a:rPr lang="de-DE" sz="1600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inkl. </a:t>
            </a:r>
            <a:r>
              <a:rPr lang="de-DE" sz="1600" b="1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riorisierung von Maßnahmen</a:t>
            </a:r>
            <a:r>
              <a:rPr lang="de-DE" sz="1600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. Die Mitarbeiter bringen ihr Fachwissen in die Gestaltung und Aufbereitung der stationsspezifischen Herausforderungen ein – die Zufriedenheit der Mitarbeiter steigt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600" kern="100" dirty="0">
              <a:effectLst/>
              <a:latin typeface="Aptos Display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9A3643EB-A778-0ED7-2E37-29F375597E70}"/>
              </a:ext>
            </a:extLst>
          </p:cNvPr>
          <p:cNvGrpSpPr/>
          <p:nvPr/>
        </p:nvGrpSpPr>
        <p:grpSpPr>
          <a:xfrm>
            <a:off x="5842219" y="2273290"/>
            <a:ext cx="6170069" cy="3933200"/>
            <a:chOff x="5923556" y="1584325"/>
            <a:chExt cx="6104403" cy="3689350"/>
          </a:xfrm>
        </p:grpSpPr>
        <p:sp>
          <p:nvSpPr>
            <p:cNvPr id="7" name="Rechteck: abgerundete Ecken 6">
              <a:extLst>
                <a:ext uri="{FF2B5EF4-FFF2-40B4-BE49-F238E27FC236}">
                  <a16:creationId xmlns:a16="http://schemas.microsoft.com/office/drawing/2014/main" id="{D76384FE-0DB8-D5B9-06BB-02CC71EE59D8}"/>
                </a:ext>
              </a:extLst>
            </p:cNvPr>
            <p:cNvSpPr/>
            <p:nvPr/>
          </p:nvSpPr>
          <p:spPr>
            <a:xfrm>
              <a:off x="5923556" y="1584325"/>
              <a:ext cx="6104403" cy="3689350"/>
            </a:xfrm>
            <a:prstGeom prst="roundRect">
              <a:avLst>
                <a:gd name="adj" fmla="val 16954"/>
              </a:avLst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endParaRPr lang="de-DE" sz="1200" kern="100">
                <a:solidFill>
                  <a:schemeClr val="tx1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3" name="Grafik 2">
              <a:extLst>
                <a:ext uri="{FF2B5EF4-FFF2-40B4-BE49-F238E27FC236}">
                  <a16:creationId xmlns:a16="http://schemas.microsoft.com/office/drawing/2014/main" id="{F4ABA468-9ED7-BD3E-09FD-46DC563E4B0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248003" y="1761412"/>
              <a:ext cx="5455507" cy="3335175"/>
            </a:xfrm>
            <a:prstGeom prst="rect">
              <a:avLst/>
            </a:prstGeom>
          </p:spPr>
        </p:pic>
      </p:grp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D6983D8D-E584-536A-6841-B8DAFE92E7D7}"/>
              </a:ext>
            </a:extLst>
          </p:cNvPr>
          <p:cNvSpPr/>
          <p:nvPr/>
        </p:nvSpPr>
        <p:spPr>
          <a:xfrm>
            <a:off x="295636" y="873696"/>
            <a:ext cx="8803342" cy="861543"/>
          </a:xfrm>
          <a:prstGeom prst="roundRect">
            <a:avLst>
              <a:gd name="adj" fmla="val 40987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000" b="1" kern="100" dirty="0">
                <a:solidFill>
                  <a:schemeClr val="tx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ffiziente Prozessoptimierung im Klinikalltag: 			               </a:t>
            </a:r>
            <a:r>
              <a:rPr lang="de-DE" sz="2000" kern="100" dirty="0">
                <a:solidFill>
                  <a:schemeClr val="tx1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as SQCDP Board als Schlüssel zur Transparenz und Mitarbeiterzufriedenheit  </a:t>
            </a:r>
          </a:p>
        </p:txBody>
      </p:sp>
    </p:spTree>
    <p:extLst>
      <p:ext uri="{BB962C8B-B14F-4D97-AF65-F5344CB8AC3E}">
        <p14:creationId xmlns:p14="http://schemas.microsoft.com/office/powerpoint/2010/main" val="13299263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EF4233E-C507-E9B3-4D26-BBEFB8DB2B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FFD13DB-6132-EB16-8834-48DBFCE549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FD13DB-6132-EB16-8834-48DBFCE549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feld 2">
            <a:extLst>
              <a:ext uri="{FF2B5EF4-FFF2-40B4-BE49-F238E27FC236}">
                <a16:creationId xmlns:a16="http://schemas.microsoft.com/office/drawing/2014/main" id="{174717B9-21A4-641D-2EB7-FD5D90426F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74385" y="1130300"/>
            <a:ext cx="6431915" cy="358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ie IFOHRA GmbH </a:t>
            </a:r>
            <a:r>
              <a:rPr kumimoji="0" lang="de-DE" sz="1600" b="0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vereint die Kompetenzen aus Industrie und Gesundheitswesen, um innovative und menschenzentrierte Lösungen zur Effizienzsteigerung im Gesundheitsmarkt umzusetzen.</a:t>
            </a:r>
            <a:endParaRPr kumimoji="0" lang="de-DE" sz="1600" b="0" i="0" u="none" strike="noStrike" kern="100" cap="none" spc="0" normalizeH="0" baseline="0" noProof="0" dirty="0">
              <a:ln>
                <a:noFill/>
              </a:ln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ls Spin-off des Medical Valley verfügt IFOHRA über ein </a:t>
            </a:r>
            <a:r>
              <a:rPr kumimoji="0" lang="de-DE" sz="16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branchenübergreifendes Partnernetzwerk</a:t>
            </a:r>
            <a:r>
              <a:rPr kumimoji="0" lang="de-DE" sz="1600" b="0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, wie zum Beispiel der Ostbayerischen Technische Hochschule Amberg-Weiden, MSE-Solution </a:t>
            </a:r>
            <a:r>
              <a:rPr kumimoji="0" lang="de-DE" sz="1600" b="0" i="0" u="none" strike="noStrike" kern="1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ointOut</a:t>
            </a:r>
            <a:r>
              <a:rPr kumimoji="0" lang="de-DE" sz="1600" b="0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und andere.</a:t>
            </a:r>
            <a:endParaRPr kumimoji="0" lang="de-DE" sz="1600" b="0" i="0" u="none" strike="noStrike" kern="100" cap="none" spc="0" normalizeH="0" baseline="0" noProof="0" dirty="0">
              <a:ln>
                <a:noFill/>
              </a:ln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Wir entwickeln auch langfristige Technologiepläne im Bereich der </a:t>
            </a:r>
            <a:r>
              <a:rPr kumimoji="0" lang="de-DE" sz="16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5G-Infrastruktur</a:t>
            </a:r>
            <a:r>
              <a:rPr kumimoji="0" lang="de-DE" sz="1600" b="0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und der </a:t>
            </a:r>
            <a:r>
              <a:rPr kumimoji="0" lang="de-DE" sz="16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igitalisierung </a:t>
            </a:r>
            <a:r>
              <a:rPr kumimoji="0" lang="de-DE" sz="1600" b="0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von klinischen Prozessen.</a:t>
            </a:r>
            <a:endParaRPr kumimoji="0" lang="de-DE" sz="1600" b="0" i="0" u="none" strike="noStrike" kern="100" cap="none" spc="0" normalizeH="0" baseline="0" noProof="0" dirty="0">
              <a:ln>
                <a:noFill/>
              </a:ln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as Medical Valley ist eines der dynamischsten Ökosysteme in der Gesundheitsbranche, sowohl auf </a:t>
            </a:r>
            <a:r>
              <a:rPr kumimoji="0" lang="de-DE" sz="16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nationaler</a:t>
            </a:r>
            <a:r>
              <a:rPr kumimoji="0" lang="de-DE" sz="1600" b="0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als auch auf </a:t>
            </a:r>
            <a:r>
              <a:rPr kumimoji="0" lang="de-DE" sz="1600" b="1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internationaler</a:t>
            </a:r>
            <a:r>
              <a:rPr kumimoji="0" lang="de-DE" sz="1600" b="0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Ebene.</a:t>
            </a:r>
            <a:endParaRPr kumimoji="0" lang="de-DE" sz="1600" b="0" i="0" u="none" strike="noStrike" kern="100" cap="none" spc="0" normalizeH="0" baseline="0" noProof="0" dirty="0">
              <a:ln>
                <a:noFill/>
              </a:ln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0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endParaRPr kumimoji="0" lang="de-DE" sz="1600" b="0" i="0" u="none" strike="noStrike" kern="100" cap="none" spc="0" normalizeH="0" baseline="0" noProof="0" dirty="0">
              <a:ln>
                <a:noFill/>
              </a:ln>
              <a:solidFill>
                <a:srgbClr val="121F3D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B029F589-318C-1B7A-A64A-FBD7587F505A}"/>
              </a:ext>
            </a:extLst>
          </p:cNvPr>
          <p:cNvCxnSpPr/>
          <p:nvPr/>
        </p:nvCxnSpPr>
        <p:spPr>
          <a:xfrm flipV="1">
            <a:off x="5874385" y="962818"/>
            <a:ext cx="5929630" cy="9525"/>
          </a:xfrm>
          <a:prstGeom prst="line">
            <a:avLst/>
          </a:prstGeom>
          <a:ln w="57150">
            <a:solidFill>
              <a:srgbClr val="395A85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5" name="Textfeld 2">
            <a:extLst>
              <a:ext uri="{FF2B5EF4-FFF2-40B4-BE49-F238E27FC236}">
                <a16:creationId xmlns:a16="http://schemas.microsoft.com/office/drawing/2014/main" id="{E82A7423-783B-A9A5-5355-3BA7D620AC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74385" y="476250"/>
            <a:ext cx="4460875" cy="486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00" cap="none" spc="0" normalizeH="0" baseline="0" noProof="0" dirty="0">
                <a:ln>
                  <a:noFill/>
                </a:ln>
                <a:solidFill>
                  <a:srgbClr val="395A85"/>
                </a:solidFill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Ihr Ansprechpartner</a:t>
            </a:r>
            <a:endParaRPr kumimoji="0" lang="de-DE" sz="2000" b="0" i="0" u="none" strike="noStrike" kern="100" cap="none" spc="0" normalizeH="0" baseline="0" noProof="0" dirty="0">
              <a:ln>
                <a:noFill/>
              </a:ln>
              <a:solidFill>
                <a:srgbClr val="395A85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" name="Grafik 5" descr="Ein Bild, das Text, Grafiken, Schrift, Grafikdesign enthält.&#10;&#10;Automatisch generierte Beschreibung">
            <a:extLst>
              <a:ext uri="{FF2B5EF4-FFF2-40B4-BE49-F238E27FC236}">
                <a16:creationId xmlns:a16="http://schemas.microsoft.com/office/drawing/2014/main" id="{07FDC3D3-2880-3230-6704-A31373D5AE3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387" y="3721100"/>
            <a:ext cx="1343025" cy="1343025"/>
          </a:xfrm>
          <a:prstGeom prst="rect">
            <a:avLst/>
          </a:prstGeom>
        </p:spPr>
      </p:pic>
      <p:sp>
        <p:nvSpPr>
          <p:cNvPr id="7" name="Textfeld 2">
            <a:extLst>
              <a:ext uri="{FF2B5EF4-FFF2-40B4-BE49-F238E27FC236}">
                <a16:creationId xmlns:a16="http://schemas.microsoft.com/office/drawing/2014/main" id="{F309BC4F-769A-6782-3B85-57C8999833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6387" y="5205413"/>
            <a:ext cx="2981325" cy="1538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de-DE" sz="1600" b="1" kern="100" dirty="0">
                <a:solidFill>
                  <a:srgbClr val="0E2841"/>
                </a:solidFill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C</a:t>
            </a:r>
            <a:r>
              <a:rPr kumimoji="0" lang="de-DE" sz="1600" b="1" i="0" u="none" strike="noStrike" kern="100" cap="none" spc="0" normalizeH="0" baseline="0" noProof="0" dirty="0" err="1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ontact</a:t>
            </a:r>
            <a:endParaRPr kumimoji="0" lang="de-DE" sz="900" b="1" i="0" u="none" strike="noStrike" kern="100" cap="none" spc="0" normalizeH="0" baseline="0" noProof="0" dirty="0">
              <a:ln>
                <a:noFill/>
              </a:ln>
              <a:solidFill>
                <a:srgbClr val="0E2841"/>
              </a:solidFill>
              <a:effectLst/>
              <a:uLnTx/>
              <a:uFillTx/>
              <a:latin typeface="Aptos Display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de-DE" sz="800" b="0" i="0" u="none" strike="noStrike" kern="100" cap="none" spc="0" normalizeH="0" baseline="0" noProof="0" dirty="0">
              <a:ln>
                <a:noFill/>
              </a:ln>
              <a:solidFill>
                <a:srgbClr val="121F3D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0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IFOHRA GmbH</a:t>
            </a:r>
            <a:endParaRPr kumimoji="0" lang="de-DE" sz="1600" b="0" i="0" u="none" strike="noStrike" kern="100" cap="none" spc="0" normalizeH="0" baseline="0" noProof="0" dirty="0">
              <a:ln>
                <a:noFill/>
              </a:ln>
              <a:solidFill>
                <a:srgbClr val="121F3D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0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m Werkkanal 6, 96047 Bamberg</a:t>
            </a:r>
            <a:endParaRPr kumimoji="0" lang="de-DE" sz="1600" b="0" i="0" u="none" strike="noStrike" kern="100" cap="none" spc="0" normalizeH="0" baseline="0" noProof="0" dirty="0">
              <a:ln>
                <a:noFill/>
              </a:ln>
              <a:solidFill>
                <a:srgbClr val="121F3D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0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+49-176-45838881</a:t>
            </a:r>
            <a:endParaRPr kumimoji="0" lang="de-DE" sz="1600" b="0" i="0" u="none" strike="noStrike" kern="100" cap="none" spc="0" normalizeH="0" baseline="0" noProof="0" dirty="0">
              <a:ln>
                <a:noFill/>
              </a:ln>
              <a:solidFill>
                <a:srgbClr val="121F3D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00" cap="none" spc="0" normalizeH="0" baseline="0" noProof="0" dirty="0">
                <a:ln>
                  <a:noFill/>
                </a:ln>
                <a:solidFill>
                  <a:srgbClr val="0E2841"/>
                </a:solidFill>
                <a:effectLst/>
                <a:uLnTx/>
                <a:uFillTx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www.ifohra.de</a:t>
            </a:r>
            <a:endParaRPr kumimoji="0" lang="de-DE" sz="1600" b="0" i="0" u="none" strike="noStrike" kern="100" cap="none" spc="0" normalizeH="0" baseline="0" noProof="0" dirty="0">
              <a:ln>
                <a:noFill/>
              </a:ln>
              <a:solidFill>
                <a:srgbClr val="121F3D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28216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9992AA"/>
            </a:gs>
            <a:gs pos="58000">
              <a:srgbClr val="B4C8D6"/>
            </a:gs>
            <a:gs pos="100000">
              <a:srgbClr val="ABD1DF"/>
            </a:gs>
          </a:gsLst>
          <a:path path="circle">
            <a:fillToRect r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DC82032-513E-718C-695D-099454FC0D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790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C82032-513E-718C-695D-099454FC0D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>
            <a:extLst>
              <a:ext uri="{FF2B5EF4-FFF2-40B4-BE49-F238E27FC236}">
                <a16:creationId xmlns:a16="http://schemas.microsoft.com/office/drawing/2014/main" id="{A3C2565F-A96C-BF39-EB26-19617546D9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9663" y="612845"/>
            <a:ext cx="10433304" cy="56323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1" i="0" u="none" strike="noStrike" cap="none" normalizeH="0" baseline="0" dirty="0">
                <a:ln>
                  <a:noFill/>
                </a:ln>
                <a:solidFill>
                  <a:srgbClr val="395A85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Häufig gestellte Frage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600" b="0" i="0" u="none" strike="noStrike" cap="none" normalizeH="0" baseline="0" dirty="0">
              <a:ln>
                <a:noFill/>
              </a:ln>
              <a:solidFill>
                <a:srgbClr val="395A85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600" i="0" u="none" strike="noStrike" cap="none" normalizeH="0" baseline="0" dirty="0">
                <a:ln>
                  <a:noFill/>
                </a:ln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Hier finden Sie Antworten auf häufig gestellte Fragen zum Thema SQCDP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600" i="0" u="none" strike="noStrike" cap="none" normalizeH="0" baseline="0" dirty="0">
              <a:ln>
                <a:noFill/>
              </a:ln>
              <a:effectLst/>
              <a:latin typeface="Aptos Display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600" b="1" i="0" u="none" strike="noStrike" cap="none" normalizeH="0" baseline="0" dirty="0">
                <a:ln>
                  <a:noFill/>
                </a:ln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Was versteht man unter SQCDP und welche Bedeutung hat es im Kontext von Prozessoptimierung?</a:t>
            </a:r>
            <a:endParaRPr kumimoji="0" lang="de-DE" altLang="de-DE" sz="1600" b="1" i="0" u="none" strike="noStrike" cap="none" normalizeH="0" baseline="0" dirty="0">
              <a:ln>
                <a:noFill/>
              </a:ln>
              <a:effectLst/>
              <a:latin typeface="Aptos Display" panose="020B0004020202020204" pitchFamily="34" charset="0"/>
            </a:endParaRPr>
          </a:p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600" b="0" i="0" u="none" strike="noStrike" cap="none" normalizeH="0" baseline="0" dirty="0">
                <a:ln>
                  <a:noFill/>
                </a:ln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urch Transparenz der Prozesse wird ein Überschreiten von tolerierbaren Grenzen erkannt und die Möglichkeit geschaffen, Maßnahmen gezielt einzuleiten. Jedes Teammitglied hat die gleiche Informationsgrundlage.</a:t>
            </a:r>
            <a:endParaRPr kumimoji="0" lang="de-DE" altLang="de-DE" sz="1600" b="0" i="0" u="none" strike="noStrike" cap="none" normalizeH="0" baseline="0" dirty="0">
              <a:ln>
                <a:noFill/>
              </a:ln>
              <a:effectLst/>
              <a:latin typeface="Aptos Display" panose="020B0004020202020204" pitchFamily="34" charset="0"/>
            </a:endParaRPr>
          </a:p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altLang="de-DE" sz="1600" dirty="0">
              <a:latin typeface="Aptos Display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600" b="1" i="0" u="none" strike="noStrike" cap="none" normalizeH="0" baseline="0" dirty="0">
                <a:ln>
                  <a:noFill/>
                </a:ln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Welche Probleme stehen im Fokus unserer Analyse?</a:t>
            </a:r>
            <a:endParaRPr kumimoji="0" lang="de-DE" altLang="de-DE" sz="1600" b="1" i="0" u="none" strike="noStrike" cap="none" normalizeH="0" baseline="0" dirty="0">
              <a:ln>
                <a:noFill/>
              </a:ln>
              <a:effectLst/>
              <a:latin typeface="Aptos Display" panose="020B0004020202020204" pitchFamily="34" charset="0"/>
            </a:endParaRPr>
          </a:p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600" b="0" i="0" u="none" strike="noStrike" cap="none" normalizeH="0" baseline="0" dirty="0">
                <a:ln>
                  <a:noFill/>
                </a:ln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Häufig fehlende Prozesstransparenz</a:t>
            </a:r>
            <a:endParaRPr kumimoji="0" lang="de-DE" altLang="de-DE" sz="1600" b="0" i="0" u="none" strike="noStrike" cap="none" normalizeH="0" baseline="0" dirty="0">
              <a:ln>
                <a:noFill/>
              </a:ln>
              <a:effectLst/>
              <a:latin typeface="Aptos Display" panose="020B0004020202020204" pitchFamily="34" charset="0"/>
            </a:endParaRPr>
          </a:p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600" b="0" i="0" u="none" strike="noStrike" cap="none" normalizeH="0" baseline="0" dirty="0">
                <a:ln>
                  <a:noFill/>
                </a:ln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rbeiten an Theme</a:t>
            </a:r>
            <a:r>
              <a:rPr lang="de-DE" altLang="de-DE" sz="1600" dirty="0"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n </a:t>
            </a:r>
            <a:r>
              <a:rPr kumimoji="0" lang="de-DE" altLang="de-DE" sz="1600" b="0" i="0" u="none" strike="noStrike" cap="none" normalizeH="0" baseline="0" dirty="0">
                <a:ln>
                  <a:noFill/>
                </a:ln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mit geringem Einfluss auf das Ergebnis (80 %/ 20 % Pareto Regel)</a:t>
            </a:r>
            <a:endParaRPr kumimoji="0" lang="de-DE" altLang="de-DE" sz="1600" b="0" i="0" u="none" strike="noStrike" cap="none" normalizeH="0" baseline="0" dirty="0">
              <a:ln>
                <a:noFill/>
              </a:ln>
              <a:effectLst/>
              <a:latin typeface="Aptos Display" panose="020B0004020202020204" pitchFamily="34" charset="0"/>
            </a:endParaRPr>
          </a:p>
          <a:p>
            <a:pPr marL="180975" marR="0" lvl="0" indent="-1809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600" b="0" i="0" u="none" strike="noStrike" cap="none" normalizeH="0" baseline="0" dirty="0">
                <a:ln>
                  <a:noFill/>
                </a:ln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Hohe, bzw. weiter steigende Prozesskosten</a:t>
            </a:r>
            <a:endParaRPr kumimoji="0" lang="de-DE" altLang="de-DE" sz="1600" b="0" i="0" u="none" strike="noStrike" cap="none" normalizeH="0" baseline="0" dirty="0">
              <a:ln>
                <a:noFill/>
              </a:ln>
              <a:effectLst/>
              <a:latin typeface="Aptos Display" panose="020B00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de-DE" altLang="de-DE" sz="1600" b="0" i="0" u="none" strike="noStrike" cap="none" normalizeH="0" baseline="0" dirty="0">
              <a:ln>
                <a:noFill/>
              </a:ln>
              <a:effectLst/>
              <a:latin typeface="Aptos Display" panose="020B00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600" b="1" i="0" u="none" strike="noStrike" cap="none" normalizeH="0" baseline="0" dirty="0">
                <a:ln>
                  <a:noFill/>
                </a:ln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Welche Mehrwerte ergeben sich für Ihr Unternehmen?</a:t>
            </a:r>
            <a:endParaRPr kumimoji="0" lang="de-DE" altLang="de-DE" sz="1600" b="1" i="0" u="none" strike="noStrike" cap="none" normalizeH="0" baseline="0" dirty="0">
              <a:ln>
                <a:noFill/>
              </a:ln>
              <a:effectLst/>
              <a:latin typeface="Aptos Display" panose="020B0004020202020204" pitchFamily="34" charset="0"/>
            </a:endParaRPr>
          </a:p>
          <a:p>
            <a:pPr marL="174625" marR="0" lvl="0" indent="-17462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600" b="0" i="0" u="none" strike="noStrike" cap="none" normalizeH="0" baseline="0" dirty="0">
                <a:ln>
                  <a:noFill/>
                </a:ln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rozesstransparenz</a:t>
            </a:r>
            <a:endParaRPr kumimoji="0" lang="de-DE" altLang="de-DE" sz="1600" b="0" i="0" u="none" strike="noStrike" cap="none" normalizeH="0" baseline="0" dirty="0">
              <a:ln>
                <a:noFill/>
              </a:ln>
              <a:effectLst/>
              <a:latin typeface="Aptos Display" panose="020B0004020202020204" pitchFamily="34" charset="0"/>
            </a:endParaRPr>
          </a:p>
          <a:p>
            <a:pPr marL="174625" marR="0" lvl="0" indent="-17462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600" b="0" i="0" u="none" strike="noStrike" cap="none" normalizeH="0" baseline="0" dirty="0">
                <a:ln>
                  <a:noFill/>
                </a:ln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riorisierung von Arbeitspaketen mit der höchsten Wirksamkeit</a:t>
            </a:r>
          </a:p>
          <a:p>
            <a:pPr marL="174625" marR="0" lvl="0" indent="-17462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600" b="0" i="0" u="none" strike="noStrike" cap="none" normalizeH="0" baseline="0" dirty="0">
                <a:ln>
                  <a:noFill/>
                </a:ln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Unterstützung effektiver Methoden, wie z. B. dem Pareto Prinzip, PDCA sowie ABC-Analysen</a:t>
            </a:r>
            <a:endParaRPr kumimoji="0" lang="de-DE" altLang="de-DE" sz="1600" b="0" i="0" u="none" strike="noStrike" cap="none" normalizeH="0" baseline="0" dirty="0">
              <a:ln>
                <a:noFill/>
              </a:ln>
              <a:effectLst/>
              <a:latin typeface="Aptos Display" panose="020B0004020202020204" pitchFamily="34" charset="0"/>
            </a:endParaRPr>
          </a:p>
          <a:p>
            <a:pPr marL="174625" marR="0" lvl="0" indent="-17462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600" b="0" i="0" u="none" strike="noStrike" cap="none" normalizeH="0" baseline="0" dirty="0">
                <a:ln>
                  <a:noFill/>
                </a:ln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Optimierter Einsatz von Ressourcen</a:t>
            </a:r>
            <a:endParaRPr kumimoji="0" lang="de-DE" altLang="de-DE" sz="1600" b="0" i="0" u="none" strike="noStrike" cap="none" normalizeH="0" baseline="0" dirty="0">
              <a:ln>
                <a:noFill/>
              </a:ln>
              <a:effectLst/>
              <a:latin typeface="Aptos Display" panose="020B0004020202020204" pitchFamily="34" charset="0"/>
            </a:endParaRPr>
          </a:p>
          <a:p>
            <a:pPr marL="174625" marR="0" lvl="0" indent="-17462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600" b="0" i="0" u="none" strike="noStrike" cap="none" normalizeH="0" baseline="0" dirty="0">
                <a:ln>
                  <a:noFill/>
                </a:ln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Reduzierte Reaktionszeit auf Abweichungen</a:t>
            </a:r>
            <a:endParaRPr kumimoji="0" lang="de-DE" altLang="de-DE" sz="1600" b="0" i="0" u="none" strike="noStrike" cap="none" normalizeH="0" baseline="0" dirty="0">
              <a:ln>
                <a:noFill/>
              </a:ln>
              <a:effectLst/>
              <a:latin typeface="Aptos Display" panose="020B0004020202020204" pitchFamily="34" charset="0"/>
            </a:endParaRPr>
          </a:p>
          <a:p>
            <a:pPr marL="174625" marR="0" lvl="0" indent="-17462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600" b="0" i="0" u="none" strike="noStrike" cap="none" normalizeH="0" baseline="0" dirty="0">
                <a:ln>
                  <a:noFill/>
                </a:ln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ufbereitung der Optimierungsergebnisse und ihrer Nachhaltigkeit 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de-DE" altLang="de-DE" sz="1600" b="0" i="0" u="none" strike="noStrike" cap="none" normalizeH="0" baseline="0" dirty="0">
              <a:ln>
                <a:noFill/>
              </a:ln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600" b="0" i="0" u="none" strike="noStrike" cap="none" normalizeH="0" baseline="0" dirty="0">
              <a:ln>
                <a:noFill/>
              </a:ln>
              <a:effectLst/>
            </a:endParaRPr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8A4BF95B-443D-FD20-3607-2E57CFCD28BF}"/>
              </a:ext>
            </a:extLst>
          </p:cNvPr>
          <p:cNvCxnSpPr>
            <a:cxnSpLocks/>
          </p:cNvCxnSpPr>
          <p:nvPr/>
        </p:nvCxnSpPr>
        <p:spPr>
          <a:xfrm>
            <a:off x="555863" y="1126755"/>
            <a:ext cx="10210108" cy="0"/>
          </a:xfrm>
          <a:prstGeom prst="line">
            <a:avLst/>
          </a:prstGeom>
          <a:ln w="57150">
            <a:solidFill>
              <a:srgbClr val="395A85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75325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9992AA"/>
            </a:gs>
            <a:gs pos="58000">
              <a:srgbClr val="B4C8D6"/>
            </a:gs>
            <a:gs pos="100000">
              <a:srgbClr val="ABD1DF"/>
            </a:gs>
          </a:gsLst>
          <a:path path="circle">
            <a:fillToRect r="100000" b="100000"/>
          </a:path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4C1B5C7-AE0A-4F42-BE11-F4EC189760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C427EB8-17B4-703B-CE9B-864BF2370F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3964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427EB8-17B4-703B-CE9B-864BF2370F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>
            <a:extLst>
              <a:ext uri="{FF2B5EF4-FFF2-40B4-BE49-F238E27FC236}">
                <a16:creationId xmlns:a16="http://schemas.microsoft.com/office/drawing/2014/main" id="{17F7A6A7-7FE3-8767-0022-13F42E815F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867" y="859065"/>
            <a:ext cx="9334189" cy="4401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2000" b="1" i="0" u="none" strike="noStrike" cap="none" normalizeH="0" baseline="0" dirty="0">
                <a:ln>
                  <a:noFill/>
                </a:ln>
                <a:solidFill>
                  <a:srgbClr val="395A85"/>
                </a:solidFill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Häufig gestellte Frage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600" b="0" i="0" u="none" strike="noStrike" cap="none" normalizeH="0" baseline="0" dirty="0">
              <a:ln>
                <a:noFill/>
              </a:ln>
              <a:solidFill>
                <a:srgbClr val="395A85"/>
              </a:solidFill>
              <a:effectLst/>
              <a:latin typeface="Aptos Display" panose="020B00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600" i="0" u="none" strike="noStrike" cap="none" normalizeH="0" baseline="0" dirty="0">
                <a:ln>
                  <a:noFill/>
                </a:ln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Hier finden Sie Antworten auf häufig gestellte Fragen zum Thema SQCDP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de-DE" altLang="de-DE" sz="1600" b="0" i="0" u="none" strike="noStrike" cap="none" normalizeH="0" baseline="0" dirty="0">
              <a:ln>
                <a:noFill/>
              </a:ln>
              <a:effectLst/>
              <a:latin typeface="Aptos Display" panose="020B0004020202020204" pitchFamily="34" charset="0"/>
            </a:endParaRP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600" b="1" i="0" u="none" strike="noStrike" cap="none" normalizeH="0" baseline="0" dirty="0">
                <a:ln>
                  <a:noFill/>
                </a:ln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Wie wird das Shopfloor Management im Kontext von SQCDP umgesetzt und welchen Zeitrahmen nimmt dieser Prozess in Anspruch?</a:t>
            </a:r>
            <a:endParaRPr kumimoji="0" lang="de-DE" altLang="de-DE" sz="1600" b="1" i="0" u="none" strike="noStrike" cap="none" normalizeH="0" baseline="0" dirty="0">
              <a:ln>
                <a:noFill/>
              </a:ln>
              <a:effectLst/>
              <a:latin typeface="Aptos Display" panose="020B0004020202020204" pitchFamily="34" charset="0"/>
            </a:endParaRPr>
          </a:p>
          <a:p>
            <a:pPr marL="180975" marR="0" lvl="0" indent="-180975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600" b="0" i="0" u="none" strike="noStrike" cap="none" normalizeH="0" baseline="0" dirty="0">
                <a:ln>
                  <a:noFill/>
                </a:ln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as Team wird durch Workshops umfangreich an die Nutzung des Boards und dessen Methodik herangeführt </a:t>
            </a:r>
            <a:endParaRPr kumimoji="0" lang="de-DE" altLang="de-DE" sz="1600" b="0" i="0" u="none" strike="noStrike" cap="none" normalizeH="0" baseline="0" dirty="0">
              <a:ln>
                <a:noFill/>
              </a:ln>
              <a:effectLst/>
              <a:latin typeface="Aptos Display" panose="020B0004020202020204" pitchFamily="34" charset="0"/>
            </a:endParaRPr>
          </a:p>
          <a:p>
            <a:pPr marL="180975" marR="0" lvl="0" indent="-180975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600" b="0" i="0" u="none" strike="noStrike" cap="none" normalizeH="0" baseline="0" dirty="0">
                <a:ln>
                  <a:noFill/>
                </a:ln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Das SQCDP Board wird für jeden Mitarbeiter gut sichtbar aufgestellt</a:t>
            </a:r>
            <a:endParaRPr kumimoji="0" lang="de-DE" altLang="de-DE" sz="1600" b="0" i="0" u="none" strike="noStrike" cap="none" normalizeH="0" baseline="0" dirty="0">
              <a:ln>
                <a:noFill/>
              </a:ln>
              <a:effectLst/>
              <a:latin typeface="Aptos Display" panose="020B0004020202020204" pitchFamily="34" charset="0"/>
            </a:endParaRPr>
          </a:p>
          <a:p>
            <a:pPr marL="180975" marR="0" lvl="0" indent="-180975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600" b="0" i="0" u="none" strike="noStrike" cap="none" normalizeH="0" baseline="0" dirty="0">
                <a:ln>
                  <a:noFill/>
                </a:ln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Gesamtprojektlaufzeit abhängig von der Größe der Einrichtung</a:t>
            </a: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de-DE" altLang="de-DE" sz="1600" b="0" i="0" u="none" strike="noStrike" cap="none" normalizeH="0" baseline="0" dirty="0">
              <a:ln>
                <a:noFill/>
              </a:ln>
              <a:effectLst/>
              <a:latin typeface="Aptos Display" panose="020B0004020202020204" pitchFamily="34" charset="0"/>
            </a:endParaRPr>
          </a:p>
          <a:p>
            <a:pPr marL="0" marR="0" lvl="0" indent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600" b="1" i="0" u="none" strike="noStrike" cap="none" normalizeH="0" baseline="0" dirty="0">
                <a:ln>
                  <a:noFill/>
                </a:ln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Warum IFOHRA?</a:t>
            </a:r>
            <a:endParaRPr kumimoji="0" lang="de-DE" altLang="de-DE" sz="1600" b="1" i="0" u="none" strike="noStrike" cap="none" normalizeH="0" baseline="0" dirty="0">
              <a:ln>
                <a:noFill/>
              </a:ln>
              <a:effectLst/>
              <a:latin typeface="Aptos Display" panose="020B0004020202020204" pitchFamily="34" charset="0"/>
            </a:endParaRPr>
          </a:p>
          <a:p>
            <a:pPr marL="180975" marR="0" lvl="0" indent="-180975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600" b="0" i="0" u="none" strike="noStrike" cap="none" normalizeH="0" baseline="0" dirty="0">
                <a:ln>
                  <a:noFill/>
                </a:ln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Wissenschaftliche und objektive Erhebungsmethode</a:t>
            </a:r>
            <a:endParaRPr kumimoji="0" lang="de-DE" altLang="de-DE" sz="1600" b="0" i="0" u="none" strike="noStrike" cap="none" normalizeH="0" baseline="0" dirty="0">
              <a:ln>
                <a:noFill/>
              </a:ln>
              <a:effectLst/>
              <a:latin typeface="Aptos Display" panose="020B0004020202020204" pitchFamily="34" charset="0"/>
            </a:endParaRPr>
          </a:p>
          <a:p>
            <a:pPr marL="180975" marR="0" lvl="0" indent="-180975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600" b="0" i="0" u="none" strike="noStrike" cap="none" normalizeH="0" baseline="0" dirty="0">
                <a:ln>
                  <a:noFill/>
                </a:ln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Umfassender Überblick über Technologien und Prozesse im Gesundheitswesen</a:t>
            </a:r>
            <a:endParaRPr kumimoji="0" lang="de-DE" altLang="de-DE" sz="1600" b="0" i="0" u="none" strike="noStrike" cap="none" normalizeH="0" baseline="0" dirty="0">
              <a:ln>
                <a:noFill/>
              </a:ln>
              <a:effectLst/>
              <a:latin typeface="Aptos Display" panose="020B0004020202020204" pitchFamily="34" charset="0"/>
            </a:endParaRPr>
          </a:p>
          <a:p>
            <a:pPr marL="180975" marR="0" lvl="0" indent="-180975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de-DE" altLang="de-DE" sz="1600" b="0" i="0" u="none" strike="noStrike" cap="none" normalizeH="0" baseline="0" dirty="0">
                <a:ln>
                  <a:noFill/>
                </a:ln>
                <a:effectLst/>
                <a:latin typeface="Aptos Display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Erfahrenes interdisziplinäres Team aus Gesundheitswesen und Industrie</a:t>
            </a:r>
          </a:p>
          <a:p>
            <a:pPr marL="180975" indent="-180975">
              <a:buFontTx/>
              <a:buChar char="•"/>
            </a:pPr>
            <a:r>
              <a:rPr lang="de-DE" altLang="de-DE" sz="1600" dirty="0">
                <a:latin typeface="Aptos Display" panose="020B0004020202020204" pitchFamily="34" charset="0"/>
                <a:cs typeface="Arial" panose="020B0604020202020204" pitchFamily="34" charset="0"/>
              </a:rPr>
              <a:t>IFOHRA schafft Transparenz und </a:t>
            </a:r>
            <a:r>
              <a:rPr lang="de-DE" sz="1600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dentifiziert gemeinsam mit Ihnen Stärken und</a:t>
            </a:r>
            <a:r>
              <a:rPr lang="de-DE" sz="1600" kern="100" dirty="0"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600" kern="100" dirty="0">
                <a:effectLst/>
                <a:latin typeface="Aptos Display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Schwächen der Prozesse</a:t>
            </a:r>
            <a:endParaRPr kumimoji="0" lang="de-DE" altLang="de-DE" sz="1600" b="0" i="0" u="none" strike="noStrike" cap="none" normalizeH="0" baseline="0" dirty="0">
              <a:ln>
                <a:noFill/>
              </a:ln>
              <a:effectLst/>
              <a:latin typeface="Aptos Display" panose="020B0004020202020204" pitchFamily="34" charset="0"/>
            </a:endParaRPr>
          </a:p>
          <a:p>
            <a:pPr marR="0" lvl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de-DE" altLang="de-DE" sz="1600" b="0" i="0" u="none" strike="noStrike" cap="none" normalizeH="0" baseline="0" dirty="0">
              <a:ln>
                <a:noFill/>
              </a:ln>
              <a:effectLst/>
              <a:latin typeface="Aptos Display" panose="020B00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600" b="0" i="0" u="none" strike="noStrike" cap="none" normalizeH="0" baseline="0" dirty="0">
              <a:ln>
                <a:noFill/>
              </a:ln>
              <a:effectLst/>
              <a:latin typeface="Aptos Display" panose="020B0004020202020204" pitchFamily="34" charset="0"/>
            </a:endParaRPr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3CCCDA45-125A-A6D6-37D8-4A5DCEBDC1C2}"/>
              </a:ext>
            </a:extLst>
          </p:cNvPr>
          <p:cNvCxnSpPr>
            <a:cxnSpLocks/>
          </p:cNvCxnSpPr>
          <p:nvPr/>
        </p:nvCxnSpPr>
        <p:spPr>
          <a:xfrm>
            <a:off x="475981" y="1353374"/>
            <a:ext cx="8995465" cy="0"/>
          </a:xfrm>
          <a:prstGeom prst="line">
            <a:avLst/>
          </a:prstGeom>
          <a:ln w="57150">
            <a:solidFill>
              <a:srgbClr val="395A85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46418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FOHRA_Master_V01">
  <a:themeElements>
    <a:clrScheme name="Benutzerdefiniert 5">
      <a:dk1>
        <a:srgbClr val="121F3D"/>
      </a:dk1>
      <a:lt1>
        <a:srgbClr val="F8F8F8"/>
      </a:lt1>
      <a:dk2>
        <a:srgbClr val="121F3D"/>
      </a:dk2>
      <a:lt2>
        <a:srgbClr val="DFEAF9"/>
      </a:lt2>
      <a:accent1>
        <a:srgbClr val="52D7D7"/>
      </a:accent1>
      <a:accent2>
        <a:srgbClr val="121F3D"/>
      </a:accent2>
      <a:accent3>
        <a:srgbClr val="694B8C"/>
      </a:accent3>
      <a:accent4>
        <a:srgbClr val="8C874B"/>
      </a:accent4>
      <a:accent5>
        <a:srgbClr val="D78F52"/>
      </a:accent5>
      <a:accent6>
        <a:srgbClr val="3D2F12"/>
      </a:accent6>
      <a:hlink>
        <a:srgbClr val="3D2F12"/>
      </a:hlink>
      <a:folHlink>
        <a:srgbClr val="F9EFDF"/>
      </a:folHlink>
    </a:clrScheme>
    <a:fontScheme name="Benutzerdefiniert 1">
      <a:majorFont>
        <a:latin typeface="Oswald"/>
        <a:ea typeface=""/>
        <a:cs typeface=""/>
      </a:majorFont>
      <a:minorFont>
        <a:latin typeface="Oswald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IFOHRA_Master_V01">
  <a:themeElements>
    <a:clrScheme name="Benutzerdefiniert 5">
      <a:dk1>
        <a:srgbClr val="121F3D"/>
      </a:dk1>
      <a:lt1>
        <a:srgbClr val="F8F8F8"/>
      </a:lt1>
      <a:dk2>
        <a:srgbClr val="121F3D"/>
      </a:dk2>
      <a:lt2>
        <a:srgbClr val="DFEAF9"/>
      </a:lt2>
      <a:accent1>
        <a:srgbClr val="52D7D7"/>
      </a:accent1>
      <a:accent2>
        <a:srgbClr val="121F3D"/>
      </a:accent2>
      <a:accent3>
        <a:srgbClr val="694B8C"/>
      </a:accent3>
      <a:accent4>
        <a:srgbClr val="8C874B"/>
      </a:accent4>
      <a:accent5>
        <a:srgbClr val="D78F52"/>
      </a:accent5>
      <a:accent6>
        <a:srgbClr val="3D2F12"/>
      </a:accent6>
      <a:hlink>
        <a:srgbClr val="3D2F12"/>
      </a:hlink>
      <a:folHlink>
        <a:srgbClr val="F9EFDF"/>
      </a:folHlink>
    </a:clrScheme>
    <a:fontScheme name="Benutzerdefiniert 1">
      <a:majorFont>
        <a:latin typeface="Oswald"/>
        <a:ea typeface=""/>
        <a:cs typeface=""/>
      </a:majorFont>
      <a:minorFont>
        <a:latin typeface="Oswald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7ab0984-10f1-4395-b60d-25f1691eb170">
      <Terms xmlns="http://schemas.microsoft.com/office/infopath/2007/PartnerControls"/>
    </lcf76f155ced4ddcb4097134ff3c332f>
    <TaxCatchAll xmlns="8297f5c1-3b95-4d56-b368-b6987169b51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200010592A9F543ADBE163B4184BD0F" ma:contentTypeVersion="18" ma:contentTypeDescription="Ein neues Dokument erstellen." ma:contentTypeScope="" ma:versionID="0542fff46ae734924cf3e5fa24ab74e3">
  <xsd:schema xmlns:xsd="http://www.w3.org/2001/XMLSchema" xmlns:xs="http://www.w3.org/2001/XMLSchema" xmlns:p="http://schemas.microsoft.com/office/2006/metadata/properties" xmlns:ns2="8297f5c1-3b95-4d56-b368-b6987169b513" xmlns:ns3="a7ab0984-10f1-4395-b60d-25f1691eb170" targetNamespace="http://schemas.microsoft.com/office/2006/metadata/properties" ma:root="true" ma:fieldsID="fddd5336dc38e0a90ad24677bcdeb38c" ns2:_="" ns3:_="">
    <xsd:import namespace="8297f5c1-3b95-4d56-b368-b6987169b513"/>
    <xsd:import namespace="a7ab0984-10f1-4395-b60d-25f1691eb17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97f5c1-3b95-4d56-b368-b6987169b51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565c33da-748b-4b0c-bc0f-2bcf8a42e1a8}" ma:internalName="TaxCatchAll" ma:showField="CatchAllData" ma:web="8297f5c1-3b95-4d56-b368-b6987169b51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ab0984-10f1-4395-b60d-25f1691eb17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34714a44-0f9d-4d7d-9544-bd76c442678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7B41BD2-8171-4CA2-898C-D7486F8FC71E}">
  <ds:schemaRefs>
    <ds:schemaRef ds:uri="8297f5c1-3b95-4d56-b368-b6987169b513"/>
    <ds:schemaRef ds:uri="a7ab0984-10f1-4395-b60d-25f1691eb170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9693B3C-89C4-4F15-960A-BAAA49A51D8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3DC2755-402E-4276-B919-0ABD8B24215B}">
  <ds:schemaRefs>
    <ds:schemaRef ds:uri="8297f5c1-3b95-4d56-b368-b6987169b513"/>
    <ds:schemaRef ds:uri="a7ab0984-10f1-4395-b60d-25f1691eb17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09</Words>
  <Application>Microsoft Office PowerPoint</Application>
  <PresentationFormat>Breitbild</PresentationFormat>
  <Paragraphs>148</Paragraphs>
  <Slides>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7" baseType="lpstr">
      <vt:lpstr>Aptos</vt:lpstr>
      <vt:lpstr>Aptos Display</vt:lpstr>
      <vt:lpstr>Arial</vt:lpstr>
      <vt:lpstr>Calibri</vt:lpstr>
      <vt:lpstr>Oswald</vt:lpstr>
      <vt:lpstr>Oswald Light</vt:lpstr>
      <vt:lpstr>Poppins Light</vt:lpstr>
      <vt:lpstr>IFOHRA_Master_V01</vt:lpstr>
      <vt:lpstr>2_IFOHRA_Master_V01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nika Zimmermann</dc:creator>
  <cp:lastModifiedBy>Marielle Berktold</cp:lastModifiedBy>
  <cp:revision>8</cp:revision>
  <dcterms:created xsi:type="dcterms:W3CDTF">2023-09-26T10:34:28Z</dcterms:created>
  <dcterms:modified xsi:type="dcterms:W3CDTF">2025-02-17T08:01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00010592A9F543ADBE163B4184BD0F</vt:lpwstr>
  </property>
  <property fmtid="{D5CDD505-2E9C-101B-9397-08002B2CF9AE}" pid="3" name="MediaServiceImageTags">
    <vt:lpwstr/>
  </property>
</Properties>
</file>